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63" r:id="rId2"/>
  </p:sldMasterIdLst>
  <p:notesMasterIdLst>
    <p:notesMasterId r:id="rId28"/>
  </p:notesMasterIdLst>
  <p:sldIdLst>
    <p:sldId id="256" r:id="rId3"/>
    <p:sldId id="267" r:id="rId4"/>
    <p:sldId id="262" r:id="rId5"/>
    <p:sldId id="269" r:id="rId6"/>
    <p:sldId id="273" r:id="rId7"/>
    <p:sldId id="260" r:id="rId8"/>
    <p:sldId id="274" r:id="rId9"/>
    <p:sldId id="272" r:id="rId10"/>
    <p:sldId id="258" r:id="rId11"/>
    <p:sldId id="261" r:id="rId12"/>
    <p:sldId id="275" r:id="rId13"/>
    <p:sldId id="268" r:id="rId14"/>
    <p:sldId id="270" r:id="rId15"/>
    <p:sldId id="316" r:id="rId16"/>
    <p:sldId id="276" r:id="rId17"/>
    <p:sldId id="281" r:id="rId18"/>
    <p:sldId id="266" r:id="rId19"/>
    <p:sldId id="312" r:id="rId20"/>
    <p:sldId id="315" r:id="rId21"/>
    <p:sldId id="277" r:id="rId22"/>
    <p:sldId id="280" r:id="rId23"/>
    <p:sldId id="283" r:id="rId24"/>
    <p:sldId id="271" r:id="rId25"/>
    <p:sldId id="279" r:id="rId26"/>
    <p:sldId id="278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43975"/>
    <a:srgbClr val="D686A1"/>
    <a:srgbClr val="E6E6E6"/>
    <a:srgbClr val="CDBF97"/>
    <a:srgbClr val="8D7545"/>
    <a:srgbClr val="ECE8E5"/>
    <a:srgbClr val="E4CBCB"/>
    <a:srgbClr val="A88755"/>
    <a:srgbClr val="1F2020"/>
    <a:srgbClr val="263B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730" autoAdjust="0"/>
    <p:restoredTop sz="94660"/>
  </p:normalViewPr>
  <p:slideViewPr>
    <p:cSldViewPr snapToGrid="0">
      <p:cViewPr varScale="1">
        <p:scale>
          <a:sx n="72" d="100"/>
          <a:sy n="72" d="100"/>
        </p:scale>
        <p:origin x="34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urop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4A-4EF4-90B2-011FF062AF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si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A4A-4EF4-90B2-011FF062AF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meric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4A-4EF4-90B2-011FF062AF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788352"/>
        <c:axId val="24794624"/>
      </c:lineChart>
      <c:catAx>
        <c:axId val="2478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4794624"/>
        <c:crosses val="autoZero"/>
        <c:auto val="1"/>
        <c:lblAlgn val="ctr"/>
        <c:lblOffset val="100"/>
        <c:noMultiLvlLbl val="0"/>
      </c:catAx>
      <c:valAx>
        <c:axId val="24794624"/>
        <c:scaling>
          <c:orientation val="minMax"/>
          <c:max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2478835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zh-CN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577D22-AD28-43FC-8EB4-B134A7D334C3}" type="datetimeFigureOut">
              <a:rPr lang="zh-CN" altLang="en-US" smtClean="0"/>
              <a:t>2021/2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8C8EFA-96ED-4A18-B46D-8BDC030E3A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6364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g8f98426d52_0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3" name="Google Shape;263;g8f98426d52_0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80491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351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87658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0" name="Google Shape;1410;g925e4de252_0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1" name="Google Shape;1411;g925e4de252_0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1459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3" name="Google Shape;2093;g8cfc2b9370_0_55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4" name="Google Shape;2094;g8cfc2b9370_0_55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4" name="Google Shape;2414;g8cfc2b9370_0_2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15" name="Google Shape;2415;g8cfc2b9370_0_2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98034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91a1c4c4ae_0_3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91a1c4c4ae_0_38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72950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8" name="Google Shape;1468;g92498050e3_6_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69" name="Google Shape;1469;g92498050e3_6_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Jcomp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Google Shape;818;g91a1c4c4ae_0_3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19" name="Google Shape;819;g91a1c4c4ae_0_3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56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406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g8f98426d52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5" name="Google Shape;185;g8f98426d52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4019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creativeart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25FB8-320C-4083-8A3A-856629D1AEA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336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8f82a177b6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" name="Google Shape;123;g8f82a177b6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moban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806299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C1A2541-C66C-4680-968E-4CFD21EFF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127CB-45BF-4D09-B501-F4C759F644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88076" y="6400415"/>
            <a:ext cx="388247" cy="276999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34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>
      <p:transition spd="slow" advClick="0" advTm="0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58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 defTabSz="914400"/>
              <a:t>2021/2/25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 defTabSz="914400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1036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 defTabSz="914400"/>
              <a:t>2021/2/25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 defTabSz="914400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221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52165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49151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BA2064D-F3C3-4247-BB0E-3A8B9A220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6F16FD-2C53-403B-BF33-81984B8570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192" y="6369819"/>
            <a:ext cx="388247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03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7296">
          <p15:clr>
            <a:srgbClr val="FBAE40"/>
          </p15:clr>
        </p15:guide>
        <p15:guide id="3" pos="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368349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947033" y="715533"/>
            <a:ext cx="10298000" cy="64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25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516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66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88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84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40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231555" y="6858001"/>
            <a:ext cx="1800200" cy="123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模板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www.1ppt.com/moban/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en-US" altLang="zh-CN" sz="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6815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1841052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C59F4C5-B0B1-4297-BAA0-7E0E72AFC7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1C34D6F-D0F4-4534-8C4A-5CB0647CBE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8192" y="6369819"/>
            <a:ext cx="388247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973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</p:sldLayoutIdLst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p15="http://schemas.microsoft.com/office/powerpoint/2012/main">
      <p:transition spd="slow" advClick="0" advTm="0">
        <p:random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296">
          <p15:clr>
            <a:srgbClr val="F26B43"/>
          </p15:clr>
        </p15:guide>
        <p15:guide id="3" pos="3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182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freeppt7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4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6.wdp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hyperlink" Target="https://www.freeppt7.com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6DFCF26-0729-4193-8D0D-DFD5608448C5}"/>
              </a:ext>
            </a:extLst>
          </p:cNvPr>
          <p:cNvSpPr/>
          <p:nvPr/>
        </p:nvSpPr>
        <p:spPr>
          <a:xfrm>
            <a:off x="8201" y="0"/>
            <a:ext cx="121838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Rectangle 6">
            <a:extLst>
              <a:ext uri="{FF2B5EF4-FFF2-40B4-BE49-F238E27FC236}">
                <a16:creationId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8FA7AC-B37F-4E1E-AFD9-DAA70D9E7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82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8561389A-7A84-48B4-A2FB-476D9CDA872E}"/>
              </a:ext>
            </a:extLst>
          </p:cNvPr>
          <p:cNvSpPr/>
          <p:nvPr/>
        </p:nvSpPr>
        <p:spPr>
          <a:xfrm>
            <a:off x="1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5CBA77-EC7F-4B18-98D5-C1EA7972AC80}"/>
              </a:ext>
            </a:extLst>
          </p:cNvPr>
          <p:cNvSpPr/>
          <p:nvPr/>
        </p:nvSpPr>
        <p:spPr>
          <a:xfrm>
            <a:off x="3827844" y="2209478"/>
            <a:ext cx="7658099" cy="198702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0" dist="127000" dir="42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ea"/>
              <a:ea typeface="+mj-ea"/>
              <a:cs typeface="+mn-ea"/>
              <a:sym typeface="+mn-lt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10F44-2B55-464B-BB8C-B14B9A679EA9}"/>
              </a:ext>
            </a:extLst>
          </p:cNvPr>
          <p:cNvCxnSpPr>
            <a:cxnSpLocks/>
          </p:cNvCxnSpPr>
          <p:nvPr/>
        </p:nvCxnSpPr>
        <p:spPr>
          <a:xfrm>
            <a:off x="4272687" y="2544440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9F2AFD44-D044-48F2-A42D-6C8AF6C49875}"/>
              </a:ext>
            </a:extLst>
          </p:cNvPr>
          <p:cNvGrpSpPr/>
          <p:nvPr/>
        </p:nvGrpSpPr>
        <p:grpSpPr>
          <a:xfrm rot="5400000">
            <a:off x="1311770" y="767259"/>
            <a:ext cx="101370" cy="1330760"/>
            <a:chOff x="508216" y="2820579"/>
            <a:chExt cx="196770" cy="2583143"/>
          </a:xfrm>
          <a:solidFill>
            <a:schemeClr val="bg1"/>
          </a:solidFill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E4FB7A4E-4FF5-4353-80A0-8E4772FBCC9F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53B363B4-0700-4352-9753-7A0B12AF7158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9520FC3F-F125-4820-B45B-02DE79F8AE01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DEA8319B-B962-4B58-865D-1412F140F863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0367DF77-36FF-4412-B040-C8CFAA23D4AD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20B7235-F549-428D-BEE1-81C23EA562B5}"/>
              </a:ext>
            </a:extLst>
          </p:cNvPr>
          <p:cNvSpPr txBox="1"/>
          <p:nvPr/>
        </p:nvSpPr>
        <p:spPr>
          <a:xfrm>
            <a:off x="302092" y="580057"/>
            <a:ext cx="2107287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defTabSz="412750" hangingPunct="0">
              <a:lnSpc>
                <a:spcPct val="150000"/>
              </a:lnSpc>
              <a:defRPr sz="1000" b="0" kern="0">
                <a:solidFill>
                  <a:schemeClr val="bg1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endParaRPr lang="en-US" altLang="zh-CN" dirty="0">
              <a:sym typeface="+mn-lt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412AB51E-8550-4F16-97B5-57A33D8A83CF}"/>
              </a:ext>
            </a:extLst>
          </p:cNvPr>
          <p:cNvSpPr txBox="1"/>
          <p:nvPr/>
        </p:nvSpPr>
        <p:spPr>
          <a:xfrm>
            <a:off x="3827844" y="2837325"/>
            <a:ext cx="76580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dirty="0">
                <a:solidFill>
                  <a:srgbClr val="A43975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  <a:cs typeface="+mn-ea"/>
                <a:sym typeface="+mn-lt"/>
              </a:rPr>
              <a:t>BUSINESS REPORT</a:t>
            </a:r>
          </a:p>
        </p:txBody>
      </p:sp>
      <p:sp>
        <p:nvSpPr>
          <p:cNvPr id="45" name="Rectangle: Rounded Corners 10">
            <a:extLst>
              <a:ext uri="{FF2B5EF4-FFF2-40B4-BE49-F238E27FC236}">
                <a16:creationId xmlns:a16="http://schemas.microsoft.com/office/drawing/2014/main" id="{6326CA84-ABBD-43D0-8FC0-C31A82FFC870}"/>
              </a:ext>
            </a:extLst>
          </p:cNvPr>
          <p:cNvSpPr/>
          <p:nvPr/>
        </p:nvSpPr>
        <p:spPr>
          <a:xfrm>
            <a:off x="7222788" y="522145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91B2872F-D331-4C61-9148-8F11C5202C57}"/>
              </a:ext>
            </a:extLst>
          </p:cNvPr>
          <p:cNvSpPr txBox="1">
            <a:spLocks/>
          </p:cNvSpPr>
          <p:nvPr/>
        </p:nvSpPr>
        <p:spPr>
          <a:xfrm>
            <a:off x="7507720" y="541827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Jpppt.com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3CCC97A-BCA7-4992-BCD4-AAE4033958A1}"/>
              </a:ext>
            </a:extLst>
          </p:cNvPr>
          <p:cNvSpPr txBox="1"/>
          <p:nvPr/>
        </p:nvSpPr>
        <p:spPr>
          <a:xfrm>
            <a:off x="6308409" y="4408406"/>
            <a:ext cx="4520968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200" kern="0" dirty="0">
                <a:solidFill>
                  <a:srgbClr val="A43975"/>
                </a:solidFill>
                <a:latin typeface="+mj-ea"/>
                <a:ea typeface="+mj-ea"/>
                <a:cs typeface="+mn-ea"/>
                <a:sym typeface="+mn-lt"/>
              </a:rPr>
              <a:t>Synergistically utilize technically sound portals with</a:t>
            </a:r>
            <a:r>
              <a:rPr lang="en-US" sz="1200" kern="0" dirty="0">
                <a:solidFill>
                  <a:srgbClr val="A43975"/>
                </a:solidFill>
                <a:latin typeface="+mj-ea"/>
                <a:ea typeface="+mj-ea"/>
                <a:cs typeface="+mn-ea"/>
                <a:sym typeface="+mn-lt"/>
              </a:rPr>
              <a:t>,</a:t>
            </a:r>
            <a:r>
              <a:rPr lang="en-US" altLang="zh-CN" sz="1200" kern="0" dirty="0">
                <a:solidFill>
                  <a:srgbClr val="A43975"/>
                </a:solidFill>
                <a:latin typeface="+mj-ea"/>
                <a:ea typeface="+mj-ea"/>
                <a:cs typeface="+mn-ea"/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48" name="Google Shape;13;p2">
            <a:extLst>
              <a:ext uri="{FF2B5EF4-FFF2-40B4-BE49-F238E27FC236}">
                <a16:creationId xmlns:a16="http://schemas.microsoft.com/office/drawing/2014/main" id="{97B9DD39-4AE9-4143-890C-D55ED1BAD261}"/>
              </a:ext>
            </a:extLst>
          </p:cNvPr>
          <p:cNvSpPr/>
          <p:nvPr/>
        </p:nvSpPr>
        <p:spPr>
          <a:xfrm rot="12770">
            <a:off x="9097886" y="2088383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9" name="Google Shape;14;p2">
            <a:extLst>
              <a:ext uri="{FF2B5EF4-FFF2-40B4-BE49-F238E27FC236}">
                <a16:creationId xmlns:a16="http://schemas.microsoft.com/office/drawing/2014/main" id="{3E152423-2DC4-4136-B75B-0F0A2BBBE463}"/>
              </a:ext>
            </a:extLst>
          </p:cNvPr>
          <p:cNvSpPr/>
          <p:nvPr/>
        </p:nvSpPr>
        <p:spPr>
          <a:xfrm rot="12770">
            <a:off x="9520626" y="1769575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6" name="Rounded Rectangle 7">
            <a:extLst>
              <a:ext uri="{FF2B5EF4-FFF2-40B4-BE49-F238E27FC236}">
                <a16:creationId xmlns:a16="http://schemas.microsoft.com/office/drawing/2014/main" id="{4098731F-1E76-4E61-935F-96E8FB580F6B}"/>
              </a:ext>
            </a:extLst>
          </p:cNvPr>
          <p:cNvSpPr/>
          <p:nvPr/>
        </p:nvSpPr>
        <p:spPr>
          <a:xfrm>
            <a:off x="8541712" y="512742"/>
            <a:ext cx="1684599" cy="413563"/>
          </a:xfrm>
          <a:prstGeom prst="roundRect">
            <a:avLst>
              <a:gd name="adj" fmla="val 50000"/>
            </a:avLst>
          </a:prstGeom>
          <a:solidFill>
            <a:srgbClr val="A43975">
              <a:alpha val="0"/>
            </a:srgbClr>
          </a:solidFill>
          <a:ln w="158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700" dirty="0">
                <a:solidFill>
                  <a:schemeClr val="bg1">
                    <a:lumMod val="50000"/>
                  </a:schemeClr>
                </a:solidFill>
              </a:rPr>
              <a:t>LOGO</a:t>
            </a:r>
            <a:endParaRPr lang="ko-KR" altLang="en-US" sz="2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3">
            <a:hlinkClick r:id="rId7"/>
            <a:extLst>
              <a:ext uri="{FF2B5EF4-FFF2-40B4-BE49-F238E27FC236}">
                <a16:creationId xmlns:a16="http://schemas.microsoft.com/office/drawing/2014/main" id="{F84A7112-C344-4D7C-B68E-9E32F86F3D55}"/>
              </a:ext>
            </a:extLst>
          </p:cNvPr>
          <p:cNvSpPr txBox="1"/>
          <p:nvPr/>
        </p:nvSpPr>
        <p:spPr>
          <a:xfrm>
            <a:off x="7015383" y="6405982"/>
            <a:ext cx="32241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solidFill>
                  <a:srgbClr val="A43975"/>
                </a:solidFill>
                <a:cs typeface="Arial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reeppt7.com</a:t>
            </a:r>
            <a:endParaRPr lang="ko-KR" altLang="en-US" sz="1000" dirty="0">
              <a:solidFill>
                <a:srgbClr val="A4397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/>
      <p:bldP spid="45" grpId="0" animBg="1"/>
      <p:bldP spid="46" grpId="0"/>
      <p:bldP spid="47" grpId="0" animBg="1"/>
      <p:bldP spid="48" grpId="0" animBg="1"/>
      <p:bldP spid="49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18"/>
          <p:cNvSpPr/>
          <p:nvPr/>
        </p:nvSpPr>
        <p:spPr>
          <a:xfrm>
            <a:off x="3972573" y="2040834"/>
            <a:ext cx="4246827" cy="3397867"/>
          </a:xfrm>
          <a:custGeom>
            <a:avLst/>
            <a:gdLst/>
            <a:ahLst/>
            <a:cxnLst/>
            <a:rect l="l" t="t" r="r" b="b"/>
            <a:pathLst>
              <a:path w="123574" h="98871" fill="none" extrusionOk="0">
                <a:moveTo>
                  <a:pt x="123573" y="30212"/>
                </a:moveTo>
                <a:cubicBezTo>
                  <a:pt x="123573" y="68152"/>
                  <a:pt x="92823" y="98871"/>
                  <a:pt x="54915" y="98871"/>
                </a:cubicBezTo>
                <a:cubicBezTo>
                  <a:pt x="24576" y="98871"/>
                  <a:pt x="0" y="74295"/>
                  <a:pt x="0" y="43957"/>
                </a:cubicBezTo>
                <a:cubicBezTo>
                  <a:pt x="0" y="19698"/>
                  <a:pt x="19667" y="0"/>
                  <a:pt x="43925" y="0"/>
                </a:cubicBezTo>
                <a:cubicBezTo>
                  <a:pt x="63339" y="0"/>
                  <a:pt x="79078" y="15740"/>
                  <a:pt x="79078" y="35153"/>
                </a:cubicBezTo>
                <a:cubicBezTo>
                  <a:pt x="79078" y="50702"/>
                  <a:pt x="66506" y="63275"/>
                  <a:pt x="50956" y="63275"/>
                </a:cubicBezTo>
                <a:cubicBezTo>
                  <a:pt x="38542" y="63275"/>
                  <a:pt x="28471" y="53204"/>
                  <a:pt x="28471" y="40790"/>
                </a:cubicBezTo>
                <a:cubicBezTo>
                  <a:pt x="28471" y="30846"/>
                  <a:pt x="36515" y="22802"/>
                  <a:pt x="46459" y="22802"/>
                </a:cubicBezTo>
                <a:cubicBezTo>
                  <a:pt x="54408" y="22802"/>
                  <a:pt x="60868" y="29231"/>
                  <a:pt x="60868" y="37180"/>
                </a:cubicBezTo>
                <a:cubicBezTo>
                  <a:pt x="60868" y="43545"/>
                  <a:pt x="55706" y="48707"/>
                  <a:pt x="49341" y="48707"/>
                </a:cubicBezTo>
                <a:cubicBezTo>
                  <a:pt x="44242" y="48707"/>
                  <a:pt x="40125" y="44590"/>
                  <a:pt x="40125" y="39491"/>
                </a:cubicBezTo>
              </a:path>
            </a:pathLst>
          </a:custGeom>
          <a:noFill/>
          <a:ln w="19800" cap="rnd" cmpd="sng">
            <a:solidFill>
              <a:srgbClr val="C4C4C4"/>
            </a:solidFill>
            <a:prstDash val="solid"/>
            <a:miter lim="31669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79" name="Google Shape;279;p18"/>
          <p:cNvSpPr/>
          <p:nvPr/>
        </p:nvSpPr>
        <p:spPr>
          <a:xfrm>
            <a:off x="5225274" y="3128094"/>
            <a:ext cx="693313" cy="693313"/>
          </a:xfrm>
          <a:custGeom>
            <a:avLst/>
            <a:gdLst/>
            <a:ahLst/>
            <a:cxnLst/>
            <a:rect l="l" t="t" r="r" b="b"/>
            <a:pathLst>
              <a:path w="20174" h="20174" extrusionOk="0">
                <a:moveTo>
                  <a:pt x="10103" y="0"/>
                </a:moveTo>
                <a:cubicBezTo>
                  <a:pt x="4529" y="0"/>
                  <a:pt x="1" y="4497"/>
                  <a:pt x="1" y="10071"/>
                </a:cubicBezTo>
                <a:cubicBezTo>
                  <a:pt x="1" y="15677"/>
                  <a:pt x="4529" y="20174"/>
                  <a:pt x="10103" y="20174"/>
                </a:cubicBezTo>
                <a:cubicBezTo>
                  <a:pt x="15677" y="20174"/>
                  <a:pt x="20174" y="15677"/>
                  <a:pt x="20174" y="10071"/>
                </a:cubicBezTo>
                <a:cubicBezTo>
                  <a:pt x="20174" y="4497"/>
                  <a:pt x="15677" y="0"/>
                  <a:pt x="10103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1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80" name="Google Shape;280;p18"/>
          <p:cNvSpPr/>
          <p:nvPr/>
        </p:nvSpPr>
        <p:spPr>
          <a:xfrm>
            <a:off x="5488659" y="1746966"/>
            <a:ext cx="694413" cy="693313"/>
          </a:xfrm>
          <a:custGeom>
            <a:avLst/>
            <a:gdLst/>
            <a:ahLst/>
            <a:cxnLst/>
            <a:rect l="l" t="t" r="r" b="b"/>
            <a:pathLst>
              <a:path w="20206" h="20174" extrusionOk="0">
                <a:moveTo>
                  <a:pt x="10103" y="1"/>
                </a:moveTo>
                <a:cubicBezTo>
                  <a:pt x="4529" y="1"/>
                  <a:pt x="0" y="4498"/>
                  <a:pt x="0" y="10071"/>
                </a:cubicBezTo>
                <a:cubicBezTo>
                  <a:pt x="0" y="15645"/>
                  <a:pt x="4529" y="20174"/>
                  <a:pt x="10103" y="20174"/>
                </a:cubicBezTo>
                <a:cubicBezTo>
                  <a:pt x="15677" y="20174"/>
                  <a:pt x="20205" y="15645"/>
                  <a:pt x="20205" y="10071"/>
                </a:cubicBezTo>
                <a:cubicBezTo>
                  <a:pt x="20205" y="4498"/>
                  <a:pt x="15677" y="1"/>
                  <a:pt x="10103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 dirty="0">
                <a:solidFill>
                  <a:prstClr val="white"/>
                </a:solidFill>
                <a:cs typeface="+mn-ea"/>
                <a:sym typeface="+mn-lt"/>
              </a:rPr>
              <a:t>2</a:t>
            </a:r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81" name="Google Shape;281;p18"/>
          <p:cNvSpPr/>
          <p:nvPr/>
        </p:nvSpPr>
        <p:spPr>
          <a:xfrm>
            <a:off x="7872160" y="2739544"/>
            <a:ext cx="694413" cy="694413"/>
          </a:xfrm>
          <a:custGeom>
            <a:avLst/>
            <a:gdLst/>
            <a:ahLst/>
            <a:cxnLst/>
            <a:rect l="l" t="t" r="r" b="b"/>
            <a:pathLst>
              <a:path w="20206" h="20206" extrusionOk="0">
                <a:moveTo>
                  <a:pt x="10103" y="1"/>
                </a:moveTo>
                <a:cubicBezTo>
                  <a:pt x="4529" y="1"/>
                  <a:pt x="1" y="4529"/>
                  <a:pt x="1" y="10103"/>
                </a:cubicBezTo>
                <a:cubicBezTo>
                  <a:pt x="1" y="15677"/>
                  <a:pt x="4529" y="20205"/>
                  <a:pt x="10103" y="20205"/>
                </a:cubicBezTo>
                <a:cubicBezTo>
                  <a:pt x="15677" y="20205"/>
                  <a:pt x="20206" y="15677"/>
                  <a:pt x="20206" y="10103"/>
                </a:cubicBezTo>
                <a:cubicBezTo>
                  <a:pt x="20206" y="4529"/>
                  <a:pt x="15677" y="1"/>
                  <a:pt x="10103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 dirty="0">
                <a:solidFill>
                  <a:prstClr val="white"/>
                </a:solidFill>
                <a:cs typeface="+mn-ea"/>
                <a:sym typeface="+mn-lt"/>
              </a:rPr>
              <a:t>6</a:t>
            </a:r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82" name="Google Shape;282;p18"/>
          <p:cNvSpPr/>
          <p:nvPr/>
        </p:nvSpPr>
        <p:spPr>
          <a:xfrm>
            <a:off x="3625401" y="3198818"/>
            <a:ext cx="694379" cy="694413"/>
          </a:xfrm>
          <a:custGeom>
            <a:avLst/>
            <a:gdLst/>
            <a:ahLst/>
            <a:cxnLst/>
            <a:rect l="l" t="t" r="r" b="b"/>
            <a:pathLst>
              <a:path w="20205" h="20206" extrusionOk="0">
                <a:moveTo>
                  <a:pt x="10102" y="1"/>
                </a:moveTo>
                <a:cubicBezTo>
                  <a:pt x="4529" y="1"/>
                  <a:pt x="0" y="4530"/>
                  <a:pt x="0" y="10103"/>
                </a:cubicBezTo>
                <a:cubicBezTo>
                  <a:pt x="0" y="15677"/>
                  <a:pt x="4529" y="20206"/>
                  <a:pt x="10102" y="20206"/>
                </a:cubicBezTo>
                <a:cubicBezTo>
                  <a:pt x="15676" y="20206"/>
                  <a:pt x="20205" y="15677"/>
                  <a:pt x="20205" y="10103"/>
                </a:cubicBezTo>
                <a:cubicBezTo>
                  <a:pt x="20205" y="4530"/>
                  <a:pt x="15676" y="1"/>
                  <a:pt x="10102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 dirty="0">
                <a:solidFill>
                  <a:prstClr val="white"/>
                </a:solidFill>
                <a:cs typeface="+mn-ea"/>
                <a:sym typeface="+mn-lt"/>
              </a:rPr>
              <a:t>3</a:t>
            </a:r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83" name="Google Shape;283;p18"/>
          <p:cNvSpPr/>
          <p:nvPr/>
        </p:nvSpPr>
        <p:spPr>
          <a:xfrm>
            <a:off x="4772527" y="4942379"/>
            <a:ext cx="694413" cy="693313"/>
          </a:xfrm>
          <a:custGeom>
            <a:avLst/>
            <a:gdLst/>
            <a:ahLst/>
            <a:cxnLst/>
            <a:rect l="l" t="t" r="r" b="b"/>
            <a:pathLst>
              <a:path w="20206" h="20174" extrusionOk="0">
                <a:moveTo>
                  <a:pt x="10103" y="1"/>
                </a:moveTo>
                <a:cubicBezTo>
                  <a:pt x="4529" y="1"/>
                  <a:pt x="0" y="4498"/>
                  <a:pt x="0" y="10071"/>
                </a:cubicBezTo>
                <a:cubicBezTo>
                  <a:pt x="0" y="15677"/>
                  <a:pt x="4529" y="20174"/>
                  <a:pt x="10103" y="20174"/>
                </a:cubicBezTo>
                <a:cubicBezTo>
                  <a:pt x="15676" y="20174"/>
                  <a:pt x="20205" y="15677"/>
                  <a:pt x="20205" y="10071"/>
                </a:cubicBezTo>
                <a:cubicBezTo>
                  <a:pt x="20205" y="4498"/>
                  <a:pt x="15676" y="1"/>
                  <a:pt x="10103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 dirty="0">
                <a:solidFill>
                  <a:prstClr val="white"/>
                </a:solidFill>
                <a:cs typeface="+mn-ea"/>
                <a:sym typeface="+mn-lt"/>
              </a:rPr>
              <a:t>4</a:t>
            </a:r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84" name="Google Shape;284;p18"/>
          <p:cNvSpPr/>
          <p:nvPr/>
        </p:nvSpPr>
        <p:spPr>
          <a:xfrm>
            <a:off x="6960138" y="4591942"/>
            <a:ext cx="693313" cy="693313"/>
          </a:xfrm>
          <a:custGeom>
            <a:avLst/>
            <a:gdLst/>
            <a:ahLst/>
            <a:cxnLst/>
            <a:rect l="l" t="t" r="r" b="b"/>
            <a:pathLst>
              <a:path w="20174" h="20174" extrusionOk="0">
                <a:moveTo>
                  <a:pt x="10071" y="0"/>
                </a:moveTo>
                <a:cubicBezTo>
                  <a:pt x="4497" y="0"/>
                  <a:pt x="0" y="4497"/>
                  <a:pt x="0" y="10071"/>
                </a:cubicBezTo>
                <a:cubicBezTo>
                  <a:pt x="0" y="15645"/>
                  <a:pt x="4497" y="20173"/>
                  <a:pt x="10071" y="20173"/>
                </a:cubicBezTo>
                <a:cubicBezTo>
                  <a:pt x="15645" y="20173"/>
                  <a:pt x="20173" y="15645"/>
                  <a:pt x="20173" y="10071"/>
                </a:cubicBezTo>
                <a:cubicBezTo>
                  <a:pt x="20173" y="4497"/>
                  <a:pt x="15645" y="0"/>
                  <a:pt x="10071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5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7F009DC-5EBE-44F5-83D0-FD797A6D56EB}"/>
              </a:ext>
            </a:extLst>
          </p:cNvPr>
          <p:cNvSpPr txBox="1"/>
          <p:nvPr/>
        </p:nvSpPr>
        <p:spPr>
          <a:xfrm>
            <a:off x="1671759" y="2981287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1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6B19117-2625-41EF-8BF9-461ABCF9159B}"/>
              </a:ext>
            </a:extLst>
          </p:cNvPr>
          <p:cNvSpPr txBox="1"/>
          <p:nvPr/>
        </p:nvSpPr>
        <p:spPr>
          <a:xfrm>
            <a:off x="2955777" y="1357671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1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0D978BA-3ACA-4612-8368-6F90F058C011}"/>
              </a:ext>
            </a:extLst>
          </p:cNvPr>
          <p:cNvSpPr txBox="1"/>
          <p:nvPr/>
        </p:nvSpPr>
        <p:spPr>
          <a:xfrm>
            <a:off x="2765131" y="5031060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1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1CCCF9-1A5A-40BE-988E-4D4934C8AC0B}"/>
              </a:ext>
            </a:extLst>
          </p:cNvPr>
          <p:cNvSpPr txBox="1"/>
          <p:nvPr/>
        </p:nvSpPr>
        <p:spPr>
          <a:xfrm>
            <a:off x="7891190" y="4746858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1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2F4216-2980-4988-83D5-D09275DAEA9A}"/>
              </a:ext>
            </a:extLst>
          </p:cNvPr>
          <p:cNvSpPr txBox="1"/>
          <p:nvPr/>
        </p:nvSpPr>
        <p:spPr>
          <a:xfrm>
            <a:off x="8963075" y="2563355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14" name="Google Shape;1496;p40">
            <a:extLst>
              <a:ext uri="{FF2B5EF4-FFF2-40B4-BE49-F238E27FC236}">
                <a16:creationId xmlns:a16="http://schemas.microsoft.com/office/drawing/2014/main" id="{2DB5BC5C-B4A0-4EE5-8ECF-6B23194B0DD2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138ACEFF-C49A-4627-8FC0-FFFCAD86ED34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9943E5-C2EF-4133-ADC8-92BBFCBEF39F}"/>
              </a:ext>
            </a:extLst>
          </p:cNvPr>
          <p:cNvGrpSpPr/>
          <p:nvPr/>
        </p:nvGrpSpPr>
        <p:grpSpPr>
          <a:xfrm>
            <a:off x="6264922" y="1132238"/>
            <a:ext cx="4576180" cy="4593524"/>
            <a:chOff x="6540501" y="0"/>
            <a:chExt cx="4896342" cy="49149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94E6301-EB23-4685-88EB-C44A54F0F7DD}"/>
                </a:ext>
              </a:extLst>
            </p:cNvPr>
            <p:cNvSpPr/>
            <p:nvPr/>
          </p:nvSpPr>
          <p:spPr>
            <a:xfrm>
              <a:off x="6540501" y="174627"/>
              <a:ext cx="4178300" cy="4740274"/>
            </a:xfrm>
            <a:prstGeom prst="roundRect">
              <a:avLst>
                <a:gd name="adj" fmla="val 676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11" name="Picture 10" descr="A close up of a tower&#10;&#10;Description automatically generated">
              <a:extLst>
                <a:ext uri="{FF2B5EF4-FFF2-40B4-BE49-F238E27FC236}">
                  <a16:creationId xmlns:a16="http://schemas.microsoft.com/office/drawing/2014/main" id="{377C7E56-A503-4A1C-A558-116396C5E3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99651" y="0"/>
              <a:ext cx="4537192" cy="4622800"/>
            </a:xfrm>
            <a:prstGeom prst="rect">
              <a:avLst/>
            </a:prstGeom>
          </p:spPr>
        </p:pic>
      </p:grp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1440862" y="1530429"/>
            <a:ext cx="703199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215" y="6369819"/>
            <a:ext cx="364202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31409A3-BCA5-4112-983E-0B015B4FEC9B}"/>
              </a:ext>
            </a:extLst>
          </p:cNvPr>
          <p:cNvSpPr txBox="1"/>
          <p:nvPr/>
        </p:nvSpPr>
        <p:spPr>
          <a:xfrm>
            <a:off x="1316175" y="2535319"/>
            <a:ext cx="44672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u="sng" dirty="0">
                <a:solidFill>
                  <a:srgbClr val="A43975"/>
                </a:solidFill>
                <a:cs typeface="+mn-ea"/>
                <a:sym typeface="+mn-lt"/>
              </a:rPr>
              <a:t>Part three</a:t>
            </a:r>
          </a:p>
        </p:txBody>
      </p:sp>
      <p:sp>
        <p:nvSpPr>
          <p:cNvPr id="16" name="Rectangle: Rounded Corners 10">
            <a:extLst>
              <a:ext uri="{FF2B5EF4-FFF2-40B4-BE49-F238E27FC236}">
                <a16:creationId xmlns:a16="http://schemas.microsoft.com/office/drawing/2014/main" id="{98FA1314-0C5F-4BDA-814F-E48678576C79}"/>
              </a:ext>
            </a:extLst>
          </p:cNvPr>
          <p:cNvSpPr/>
          <p:nvPr/>
        </p:nvSpPr>
        <p:spPr>
          <a:xfrm>
            <a:off x="1440861" y="459434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A2F7233-5CF3-4BAA-9DB3-924685106EE7}"/>
              </a:ext>
            </a:extLst>
          </p:cNvPr>
          <p:cNvSpPr txBox="1">
            <a:spLocks/>
          </p:cNvSpPr>
          <p:nvPr/>
        </p:nvSpPr>
        <p:spPr>
          <a:xfrm>
            <a:off x="1725794" y="479116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J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PPT.COM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328037-B8CC-4CFE-9C61-0B136E1EDB1B}"/>
              </a:ext>
            </a:extLst>
          </p:cNvPr>
          <p:cNvSpPr txBox="1"/>
          <p:nvPr/>
        </p:nvSpPr>
        <p:spPr>
          <a:xfrm>
            <a:off x="1440861" y="3649391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19" name="Google Shape;13;p2">
            <a:extLst>
              <a:ext uri="{FF2B5EF4-FFF2-40B4-BE49-F238E27FC236}">
                <a16:creationId xmlns:a16="http://schemas.microsoft.com/office/drawing/2014/main" id="{509DD1A6-1FA7-493E-B44D-F8868C2102FE}"/>
              </a:ext>
            </a:extLst>
          </p:cNvPr>
          <p:cNvSpPr/>
          <p:nvPr/>
        </p:nvSpPr>
        <p:spPr>
          <a:xfrm rot="12770">
            <a:off x="628033" y="2574350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" name="Google Shape;14;p2">
            <a:extLst>
              <a:ext uri="{FF2B5EF4-FFF2-40B4-BE49-F238E27FC236}">
                <a16:creationId xmlns:a16="http://schemas.microsoft.com/office/drawing/2014/main" id="{9FDDE0E7-DC25-48CF-AAB3-D30CE6AB5B87}"/>
              </a:ext>
            </a:extLst>
          </p:cNvPr>
          <p:cNvSpPr/>
          <p:nvPr/>
        </p:nvSpPr>
        <p:spPr>
          <a:xfrm rot="12770">
            <a:off x="1050772" y="2255542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16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/>
      <p:bldP spid="18" grpId="0" animBg="1"/>
      <p:bldP spid="19" grpId="0" animBg="1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矩形 51">
            <a:extLst>
              <a:ext uri="{FF2B5EF4-FFF2-40B4-BE49-F238E27FC236}">
                <a16:creationId xmlns:a16="http://schemas.microsoft.com/office/drawing/2014/main" id="{F8261BBC-CB7C-46B7-8A5F-5C656C28A155}"/>
              </a:ext>
            </a:extLst>
          </p:cNvPr>
          <p:cNvSpPr/>
          <p:nvPr/>
        </p:nvSpPr>
        <p:spPr>
          <a:xfrm>
            <a:off x="10735" y="-9599"/>
            <a:ext cx="12162216" cy="5233759"/>
          </a:xfrm>
          <a:prstGeom prst="rect">
            <a:avLst/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DF57669-CD27-4D63-92C7-8EF3A5C357E5}"/>
              </a:ext>
            </a:extLst>
          </p:cNvPr>
          <p:cNvSpPr/>
          <p:nvPr/>
        </p:nvSpPr>
        <p:spPr>
          <a:xfrm>
            <a:off x="-4101" y="-100757"/>
            <a:ext cx="12192000" cy="598017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TextBox 50">
            <a:extLst>
              <a:ext uri="{FF2B5EF4-FFF2-40B4-BE49-F238E27FC236}">
                <a16:creationId xmlns:a16="http://schemas.microsoft.com/office/drawing/2014/main" id="{6BC516E6-56BF-449D-9738-4DFDB9A53875}"/>
              </a:ext>
            </a:extLst>
          </p:cNvPr>
          <p:cNvSpPr txBox="1"/>
          <p:nvPr/>
        </p:nvSpPr>
        <p:spPr>
          <a:xfrm>
            <a:off x="1052628" y="1588362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52D74"/>
                </a:solidFill>
                <a:effectLst/>
                <a:uLnTx/>
                <a:uFillTx/>
                <a:cs typeface="+mn-ea"/>
                <a:sym typeface="+mn-lt"/>
              </a:rPr>
              <a:t>S</a:t>
            </a:r>
          </a:p>
        </p:txBody>
      </p:sp>
      <p:sp>
        <p:nvSpPr>
          <p:cNvPr id="19" name="TextBox 50">
            <a:extLst>
              <a:ext uri="{FF2B5EF4-FFF2-40B4-BE49-F238E27FC236}">
                <a16:creationId xmlns:a16="http://schemas.microsoft.com/office/drawing/2014/main" id="{C733B344-2207-43AB-BA3A-1BFE8BEE0CDA}"/>
              </a:ext>
            </a:extLst>
          </p:cNvPr>
          <p:cNvSpPr txBox="1"/>
          <p:nvPr/>
        </p:nvSpPr>
        <p:spPr>
          <a:xfrm>
            <a:off x="1052628" y="4128362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52D74"/>
                </a:solidFill>
                <a:effectLst/>
                <a:uLnTx/>
                <a:uFillTx/>
                <a:cs typeface="+mn-ea"/>
                <a:sym typeface="+mn-lt"/>
              </a:rPr>
              <a:t>T</a:t>
            </a:r>
          </a:p>
        </p:txBody>
      </p:sp>
      <p:sp>
        <p:nvSpPr>
          <p:cNvPr id="22" name="TextBox 50">
            <a:extLst>
              <a:ext uri="{FF2B5EF4-FFF2-40B4-BE49-F238E27FC236}">
                <a16:creationId xmlns:a16="http://schemas.microsoft.com/office/drawing/2014/main" id="{E2EF8702-0EB2-4A69-9BC1-1FF3B1892827}"/>
              </a:ext>
            </a:extLst>
          </p:cNvPr>
          <p:cNvSpPr txBox="1"/>
          <p:nvPr/>
        </p:nvSpPr>
        <p:spPr>
          <a:xfrm>
            <a:off x="8255001" y="1564520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52D74"/>
                </a:solidFill>
                <a:effectLst/>
                <a:uLnTx/>
                <a:uFillTx/>
                <a:cs typeface="+mn-ea"/>
                <a:sym typeface="+mn-lt"/>
              </a:rPr>
              <a:t>W</a:t>
            </a:r>
          </a:p>
        </p:txBody>
      </p:sp>
      <p:sp>
        <p:nvSpPr>
          <p:cNvPr id="25" name="TextBox 50">
            <a:extLst>
              <a:ext uri="{FF2B5EF4-FFF2-40B4-BE49-F238E27FC236}">
                <a16:creationId xmlns:a16="http://schemas.microsoft.com/office/drawing/2014/main" id="{50A078A9-7C73-4D31-91F4-48F73AA33AD6}"/>
              </a:ext>
            </a:extLst>
          </p:cNvPr>
          <p:cNvSpPr txBox="1"/>
          <p:nvPr/>
        </p:nvSpPr>
        <p:spPr>
          <a:xfrm>
            <a:off x="8255001" y="4104520"/>
            <a:ext cx="331006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52D74"/>
                </a:solidFill>
                <a:effectLst/>
                <a:uLnTx/>
                <a:uFillTx/>
                <a:cs typeface="+mn-ea"/>
                <a:sym typeface="+mn-lt"/>
              </a:rPr>
              <a:t>O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51D165-0017-4093-BDBA-298E02D0FD19}"/>
              </a:ext>
            </a:extLst>
          </p:cNvPr>
          <p:cNvGrpSpPr/>
          <p:nvPr/>
        </p:nvGrpSpPr>
        <p:grpSpPr>
          <a:xfrm>
            <a:off x="4324471" y="1920568"/>
            <a:ext cx="3543061" cy="3543061"/>
            <a:chOff x="4324470" y="1920568"/>
            <a:chExt cx="3543061" cy="354306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21D547A-48EC-4D20-A811-44094F5EF2C8}"/>
                </a:ext>
              </a:extLst>
            </p:cNvPr>
            <p:cNvGrpSpPr/>
            <p:nvPr/>
          </p:nvGrpSpPr>
          <p:grpSpPr>
            <a:xfrm>
              <a:off x="4324470" y="1920568"/>
              <a:ext cx="3543061" cy="3543061"/>
              <a:chOff x="4324470" y="1958276"/>
              <a:chExt cx="3543061" cy="3543061"/>
            </a:xfrm>
          </p:grpSpPr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41E244A7-80B5-46AB-BE1B-226C6870F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955" y="1958276"/>
                <a:ext cx="2332108" cy="1385115"/>
              </a:xfrm>
              <a:custGeom>
                <a:avLst/>
                <a:gdLst>
                  <a:gd name="T0" fmla="*/ 1024 w 3108"/>
                  <a:gd name="T1" fmla="*/ 1177 h 1847"/>
                  <a:gd name="T2" fmla="*/ 1024 w 3108"/>
                  <a:gd name="T3" fmla="*/ 1176 h 1847"/>
                  <a:gd name="T4" fmla="*/ 3108 w 3108"/>
                  <a:gd name="T5" fmla="*/ 1176 h 1847"/>
                  <a:gd name="T6" fmla="*/ 1065 w 3108"/>
                  <a:gd name="T7" fmla="*/ 0 h 1847"/>
                  <a:gd name="T8" fmla="*/ 0 w 3108"/>
                  <a:gd name="T9" fmla="*/ 254 h 1847"/>
                  <a:gd name="T10" fmla="*/ 0 w 3108"/>
                  <a:gd name="T11" fmla="*/ 1847 h 1847"/>
                  <a:gd name="T12" fmla="*/ 1024 w 3108"/>
                  <a:gd name="T13" fmla="*/ 1177 h 1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08" h="1847">
                    <a:moveTo>
                      <a:pt x="1024" y="1177"/>
                    </a:moveTo>
                    <a:cubicBezTo>
                      <a:pt x="1024" y="1176"/>
                      <a:pt x="1024" y="1176"/>
                      <a:pt x="1024" y="1176"/>
                    </a:cubicBezTo>
                    <a:cubicBezTo>
                      <a:pt x="3108" y="1176"/>
                      <a:pt x="3108" y="1176"/>
                      <a:pt x="3108" y="1176"/>
                    </a:cubicBezTo>
                    <a:cubicBezTo>
                      <a:pt x="2699" y="473"/>
                      <a:pt x="1937" y="0"/>
                      <a:pt x="1065" y="0"/>
                    </a:cubicBezTo>
                    <a:cubicBezTo>
                      <a:pt x="682" y="0"/>
                      <a:pt x="320" y="91"/>
                      <a:pt x="0" y="254"/>
                    </a:cubicBezTo>
                    <a:cubicBezTo>
                      <a:pt x="0" y="1847"/>
                      <a:pt x="0" y="1847"/>
                      <a:pt x="0" y="1847"/>
                    </a:cubicBezTo>
                    <a:cubicBezTo>
                      <a:pt x="186" y="1463"/>
                      <a:pt x="572" y="1194"/>
                      <a:pt x="1024" y="11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13958709-9299-4194-8A85-020339AB9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470" y="2195025"/>
                <a:ext cx="1387835" cy="2337550"/>
              </a:xfrm>
              <a:custGeom>
                <a:avLst/>
                <a:gdLst>
                  <a:gd name="T0" fmla="*/ 1178 w 1849"/>
                  <a:gd name="T1" fmla="*/ 2045 h 3114"/>
                  <a:gd name="T2" fmla="*/ 1178 w 1849"/>
                  <a:gd name="T3" fmla="*/ 0 h 3114"/>
                  <a:gd name="T4" fmla="*/ 0 w 1849"/>
                  <a:gd name="T5" fmla="*/ 2044 h 3114"/>
                  <a:gd name="T6" fmla="*/ 256 w 1849"/>
                  <a:gd name="T7" fmla="*/ 3114 h 3114"/>
                  <a:gd name="T8" fmla="*/ 1849 w 1849"/>
                  <a:gd name="T9" fmla="*/ 3114 h 3114"/>
                  <a:gd name="T10" fmla="*/ 1178 w 1849"/>
                  <a:gd name="T11" fmla="*/ 2045 h 3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9" h="3114">
                    <a:moveTo>
                      <a:pt x="1178" y="2045"/>
                    </a:moveTo>
                    <a:cubicBezTo>
                      <a:pt x="1178" y="0"/>
                      <a:pt x="1178" y="0"/>
                      <a:pt x="1178" y="0"/>
                    </a:cubicBezTo>
                    <a:cubicBezTo>
                      <a:pt x="473" y="409"/>
                      <a:pt x="0" y="1171"/>
                      <a:pt x="0" y="2044"/>
                    </a:cubicBezTo>
                    <a:cubicBezTo>
                      <a:pt x="0" y="2429"/>
                      <a:pt x="92" y="2793"/>
                      <a:pt x="256" y="3114"/>
                    </a:cubicBezTo>
                    <a:cubicBezTo>
                      <a:pt x="1849" y="3114"/>
                      <a:pt x="1849" y="3114"/>
                      <a:pt x="1849" y="3114"/>
                    </a:cubicBezTo>
                    <a:cubicBezTo>
                      <a:pt x="1452" y="2922"/>
                      <a:pt x="1178" y="2516"/>
                      <a:pt x="1178" y="204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FC8B76BF-B79C-425C-B667-B99DF600B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5139" y="2927039"/>
                <a:ext cx="1382392" cy="2334828"/>
              </a:xfrm>
              <a:custGeom>
                <a:avLst/>
                <a:gdLst>
                  <a:gd name="T0" fmla="*/ 669 w 1842"/>
                  <a:gd name="T1" fmla="*/ 1010 h 3107"/>
                  <a:gd name="T2" fmla="*/ 671 w 1842"/>
                  <a:gd name="T3" fmla="*/ 1010 h 3107"/>
                  <a:gd name="T4" fmla="*/ 671 w 1842"/>
                  <a:gd name="T5" fmla="*/ 3107 h 3107"/>
                  <a:gd name="T6" fmla="*/ 1842 w 1842"/>
                  <a:gd name="T7" fmla="*/ 1068 h 3107"/>
                  <a:gd name="T8" fmla="*/ 1587 w 1842"/>
                  <a:gd name="T9" fmla="*/ 0 h 3107"/>
                  <a:gd name="T10" fmla="*/ 0 w 1842"/>
                  <a:gd name="T11" fmla="*/ 0 h 3107"/>
                  <a:gd name="T12" fmla="*/ 669 w 1842"/>
                  <a:gd name="T13" fmla="*/ 1010 h 3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3107">
                    <a:moveTo>
                      <a:pt x="669" y="1010"/>
                    </a:moveTo>
                    <a:cubicBezTo>
                      <a:pt x="671" y="1010"/>
                      <a:pt x="671" y="1010"/>
                      <a:pt x="671" y="1010"/>
                    </a:cubicBezTo>
                    <a:cubicBezTo>
                      <a:pt x="671" y="3107"/>
                      <a:pt x="671" y="3107"/>
                      <a:pt x="671" y="3107"/>
                    </a:cubicBezTo>
                    <a:cubicBezTo>
                      <a:pt x="1371" y="2698"/>
                      <a:pt x="1842" y="1938"/>
                      <a:pt x="1842" y="1068"/>
                    </a:cubicBezTo>
                    <a:cubicBezTo>
                      <a:pt x="1842" y="684"/>
                      <a:pt x="1750" y="321"/>
                      <a:pt x="15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0" y="184"/>
                      <a:pt x="647" y="565"/>
                      <a:pt x="669" y="101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31C3B11B-1D65-4659-860B-D69271157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940" y="4118945"/>
                <a:ext cx="2337550" cy="1382392"/>
              </a:xfrm>
              <a:custGeom>
                <a:avLst/>
                <a:gdLst>
                  <a:gd name="T0" fmla="*/ 2058 w 3113"/>
                  <a:gd name="T1" fmla="*/ 671 h 1844"/>
                  <a:gd name="T2" fmla="*/ 2058 w 3113"/>
                  <a:gd name="T3" fmla="*/ 671 h 1844"/>
                  <a:gd name="T4" fmla="*/ 0 w 3113"/>
                  <a:gd name="T5" fmla="*/ 671 h 1844"/>
                  <a:gd name="T6" fmla="*/ 2040 w 3113"/>
                  <a:gd name="T7" fmla="*/ 1844 h 1844"/>
                  <a:gd name="T8" fmla="*/ 3113 w 3113"/>
                  <a:gd name="T9" fmla="*/ 1587 h 1844"/>
                  <a:gd name="T10" fmla="*/ 3113 w 3113"/>
                  <a:gd name="T11" fmla="*/ 0 h 1844"/>
                  <a:gd name="T12" fmla="*/ 2058 w 3113"/>
                  <a:gd name="T13" fmla="*/ 671 h 1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3" h="1844">
                    <a:moveTo>
                      <a:pt x="2058" y="671"/>
                    </a:moveTo>
                    <a:cubicBezTo>
                      <a:pt x="2058" y="671"/>
                      <a:pt x="2058" y="671"/>
                      <a:pt x="2058" y="671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409" y="1373"/>
                      <a:pt x="1170" y="1844"/>
                      <a:pt x="2040" y="1844"/>
                    </a:cubicBezTo>
                    <a:cubicBezTo>
                      <a:pt x="2426" y="1844"/>
                      <a:pt x="2791" y="1752"/>
                      <a:pt x="3113" y="1587"/>
                    </a:cubicBezTo>
                    <a:cubicBezTo>
                      <a:pt x="3113" y="0"/>
                      <a:pt x="3113" y="0"/>
                      <a:pt x="3113" y="0"/>
                    </a:cubicBezTo>
                    <a:cubicBezTo>
                      <a:pt x="2923" y="393"/>
                      <a:pt x="2523" y="666"/>
                      <a:pt x="2058" y="6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27" name="Freeform 104">
              <a:extLst>
                <a:ext uri="{FF2B5EF4-FFF2-40B4-BE49-F238E27FC236}">
                  <a16:creationId xmlns:a16="http://schemas.microsoft.com/office/drawing/2014/main" id="{D7204DD3-31DD-464B-9AFC-F2F1D5A8D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780" y="3404618"/>
              <a:ext cx="572440" cy="574960"/>
            </a:xfrm>
            <a:custGeom>
              <a:avLst/>
              <a:gdLst>
                <a:gd name="T0" fmla="*/ 36 w 96"/>
                <a:gd name="T1" fmla="*/ 72 h 96"/>
                <a:gd name="T2" fmla="*/ 59 w 96"/>
                <a:gd name="T3" fmla="*/ 64 h 96"/>
                <a:gd name="T4" fmla="*/ 89 w 96"/>
                <a:gd name="T5" fmla="*/ 95 h 96"/>
                <a:gd name="T6" fmla="*/ 95 w 96"/>
                <a:gd name="T7" fmla="*/ 95 h 96"/>
                <a:gd name="T8" fmla="*/ 95 w 96"/>
                <a:gd name="T9" fmla="*/ 89 h 96"/>
                <a:gd name="T10" fmla="*/ 64 w 96"/>
                <a:gd name="T11" fmla="*/ 58 h 96"/>
                <a:gd name="T12" fmla="*/ 72 w 96"/>
                <a:gd name="T13" fmla="*/ 36 h 96"/>
                <a:gd name="T14" fmla="*/ 36 w 96"/>
                <a:gd name="T15" fmla="*/ 0 h 96"/>
                <a:gd name="T16" fmla="*/ 0 w 96"/>
                <a:gd name="T17" fmla="*/ 36 h 96"/>
                <a:gd name="T18" fmla="*/ 36 w 96"/>
                <a:gd name="T19" fmla="*/ 72 h 96"/>
                <a:gd name="T20" fmla="*/ 36 w 96"/>
                <a:gd name="T21" fmla="*/ 8 h 96"/>
                <a:gd name="T22" fmla="*/ 64 w 96"/>
                <a:gd name="T23" fmla="*/ 36 h 96"/>
                <a:gd name="T24" fmla="*/ 36 w 96"/>
                <a:gd name="T25" fmla="*/ 64 h 96"/>
                <a:gd name="T26" fmla="*/ 8 w 96"/>
                <a:gd name="T27" fmla="*/ 36 h 96"/>
                <a:gd name="T28" fmla="*/ 36 w 96"/>
                <a:gd name="T2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96">
                  <a:moveTo>
                    <a:pt x="36" y="72"/>
                  </a:moveTo>
                  <a:cubicBezTo>
                    <a:pt x="45" y="72"/>
                    <a:pt x="52" y="69"/>
                    <a:pt x="59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6"/>
                    <a:pt x="93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lose/>
                  <a:moveTo>
                    <a:pt x="36" y="8"/>
                  </a:move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9" name="Freeform 200">
            <a:extLst>
              <a:ext uri="{FF2B5EF4-FFF2-40B4-BE49-F238E27FC236}">
                <a16:creationId xmlns:a16="http://schemas.microsoft.com/office/drawing/2014/main" id="{7A5D25D2-0432-40C6-9121-3F9933D910AF}"/>
              </a:ext>
            </a:extLst>
          </p:cNvPr>
          <p:cNvSpPr>
            <a:spLocks noEditPoints="1"/>
          </p:cNvSpPr>
          <p:nvPr/>
        </p:nvSpPr>
        <p:spPr bwMode="auto">
          <a:xfrm>
            <a:off x="4602164" y="3581402"/>
            <a:ext cx="334963" cy="309563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DCDE953-5513-43B6-BC81-93E8C15E49F7}"/>
              </a:ext>
            </a:extLst>
          </p:cNvPr>
          <p:cNvGrpSpPr/>
          <p:nvPr/>
        </p:nvGrpSpPr>
        <p:grpSpPr>
          <a:xfrm>
            <a:off x="7235827" y="3463925"/>
            <a:ext cx="360363" cy="361950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32" name="Freeform 311">
              <a:extLst>
                <a:ext uri="{FF2B5EF4-FFF2-40B4-BE49-F238E27FC236}">
                  <a16:creationId xmlns:a16="http://schemas.microsoft.com/office/drawing/2014/main" id="{68157EF5-2A4B-49E2-8F19-007313D51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3" name="Freeform 312">
              <a:extLst>
                <a:ext uri="{FF2B5EF4-FFF2-40B4-BE49-F238E27FC236}">
                  <a16:creationId xmlns:a16="http://schemas.microsoft.com/office/drawing/2014/main" id="{1F4B6D62-F7E1-4830-A198-A5D5E7BCC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4" name="Freeform 313">
              <a:extLst>
                <a:ext uri="{FF2B5EF4-FFF2-40B4-BE49-F238E27FC236}">
                  <a16:creationId xmlns:a16="http://schemas.microsoft.com/office/drawing/2014/main" id="{A2C27E12-5110-490D-80D3-9A239FD9A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5" name="Freeform 314">
              <a:extLst>
                <a:ext uri="{FF2B5EF4-FFF2-40B4-BE49-F238E27FC236}">
                  <a16:creationId xmlns:a16="http://schemas.microsoft.com/office/drawing/2014/main" id="{661A0FD7-7EBA-4E6F-BCF2-3C791AB7B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6" name="Freeform 315">
              <a:extLst>
                <a:ext uri="{FF2B5EF4-FFF2-40B4-BE49-F238E27FC236}">
                  <a16:creationId xmlns:a16="http://schemas.microsoft.com/office/drawing/2014/main" id="{8434E7E1-6282-495E-98B5-DABADB5F5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7" name="Freeform 316">
              <a:extLst>
                <a:ext uri="{FF2B5EF4-FFF2-40B4-BE49-F238E27FC236}">
                  <a16:creationId xmlns:a16="http://schemas.microsoft.com/office/drawing/2014/main" id="{7807666C-5E5B-418B-8272-8AD54AA40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8" name="Freeform 317">
              <a:extLst>
                <a:ext uri="{FF2B5EF4-FFF2-40B4-BE49-F238E27FC236}">
                  <a16:creationId xmlns:a16="http://schemas.microsoft.com/office/drawing/2014/main" id="{12A477F8-7CC4-4279-95E2-9D26035E8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9" name="Freeform 318">
              <a:extLst>
                <a:ext uri="{FF2B5EF4-FFF2-40B4-BE49-F238E27FC236}">
                  <a16:creationId xmlns:a16="http://schemas.microsoft.com/office/drawing/2014/main" id="{474B568D-F4D7-4FFB-985D-57D39BB7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0" name="Freeform 319">
              <a:extLst>
                <a:ext uri="{FF2B5EF4-FFF2-40B4-BE49-F238E27FC236}">
                  <a16:creationId xmlns:a16="http://schemas.microsoft.com/office/drawing/2014/main" id="{B434E5D1-B9BF-4361-8530-08DBC2229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1" name="Freeform 320">
              <a:extLst>
                <a:ext uri="{FF2B5EF4-FFF2-40B4-BE49-F238E27FC236}">
                  <a16:creationId xmlns:a16="http://schemas.microsoft.com/office/drawing/2014/main" id="{97FCC8AB-21D3-4720-B6AC-94B9B5A83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2" name="Freeform 21">
            <a:extLst>
              <a:ext uri="{FF2B5EF4-FFF2-40B4-BE49-F238E27FC236}">
                <a16:creationId xmlns:a16="http://schemas.microsoft.com/office/drawing/2014/main" id="{05D1DCCD-0F64-4DB9-BF41-65186BC9CFE6}"/>
              </a:ext>
            </a:extLst>
          </p:cNvPr>
          <p:cNvSpPr>
            <a:spLocks noEditPoints="1"/>
          </p:cNvSpPr>
          <p:nvPr/>
        </p:nvSpPr>
        <p:spPr bwMode="auto">
          <a:xfrm>
            <a:off x="5942013" y="4876498"/>
            <a:ext cx="346075" cy="347663"/>
          </a:xfrm>
          <a:custGeom>
            <a:avLst/>
            <a:gdLst>
              <a:gd name="T0" fmla="*/ 47 w 92"/>
              <a:gd name="T1" fmla="*/ 0 h 92"/>
              <a:gd name="T2" fmla="*/ 46 w 92"/>
              <a:gd name="T3" fmla="*/ 0 h 92"/>
              <a:gd name="T4" fmla="*/ 13 w 92"/>
              <a:gd name="T5" fmla="*/ 14 h 92"/>
              <a:gd name="T6" fmla="*/ 0 w 92"/>
              <a:gd name="T7" fmla="*/ 47 h 92"/>
              <a:gd name="T8" fmla="*/ 45 w 92"/>
              <a:gd name="T9" fmla="*/ 92 h 92"/>
              <a:gd name="T10" fmla="*/ 46 w 92"/>
              <a:gd name="T11" fmla="*/ 92 h 92"/>
              <a:gd name="T12" fmla="*/ 92 w 92"/>
              <a:gd name="T13" fmla="*/ 45 h 92"/>
              <a:gd name="T14" fmla="*/ 47 w 92"/>
              <a:gd name="T15" fmla="*/ 0 h 92"/>
              <a:gd name="T16" fmla="*/ 44 w 92"/>
              <a:gd name="T17" fmla="*/ 24 h 92"/>
              <a:gd name="T18" fmla="*/ 46 w 92"/>
              <a:gd name="T19" fmla="*/ 22 h 92"/>
              <a:gd name="T20" fmla="*/ 48 w 92"/>
              <a:gd name="T21" fmla="*/ 24 h 92"/>
              <a:gd name="T22" fmla="*/ 48 w 92"/>
              <a:gd name="T23" fmla="*/ 52 h 92"/>
              <a:gd name="T24" fmla="*/ 46 w 92"/>
              <a:gd name="T25" fmla="*/ 54 h 92"/>
              <a:gd name="T26" fmla="*/ 44 w 92"/>
              <a:gd name="T27" fmla="*/ 52 h 92"/>
              <a:gd name="T28" fmla="*/ 44 w 92"/>
              <a:gd name="T29" fmla="*/ 24 h 92"/>
              <a:gd name="T30" fmla="*/ 46 w 92"/>
              <a:gd name="T31" fmla="*/ 70 h 92"/>
              <a:gd name="T32" fmla="*/ 46 w 92"/>
              <a:gd name="T33" fmla="*/ 70 h 92"/>
              <a:gd name="T34" fmla="*/ 42 w 92"/>
              <a:gd name="T35" fmla="*/ 66 h 92"/>
              <a:gd name="T36" fmla="*/ 46 w 92"/>
              <a:gd name="T37" fmla="*/ 62 h 92"/>
              <a:gd name="T38" fmla="*/ 46 w 92"/>
              <a:gd name="T39" fmla="*/ 62 h 92"/>
              <a:gd name="T40" fmla="*/ 50 w 92"/>
              <a:gd name="T41" fmla="*/ 66 h 92"/>
              <a:gd name="T42" fmla="*/ 46 w 92"/>
              <a:gd name="T43" fmla="*/ 7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2" h="92">
                <a:moveTo>
                  <a:pt x="47" y="0"/>
                </a:moveTo>
                <a:cubicBezTo>
                  <a:pt x="46" y="0"/>
                  <a:pt x="46" y="0"/>
                  <a:pt x="46" y="0"/>
                </a:cubicBezTo>
                <a:cubicBezTo>
                  <a:pt x="34" y="0"/>
                  <a:pt x="22" y="5"/>
                  <a:pt x="13" y="14"/>
                </a:cubicBezTo>
                <a:cubicBezTo>
                  <a:pt x="5" y="23"/>
                  <a:pt x="0" y="35"/>
                  <a:pt x="0" y="47"/>
                </a:cubicBezTo>
                <a:cubicBezTo>
                  <a:pt x="0" y="72"/>
                  <a:pt x="20" y="92"/>
                  <a:pt x="45" y="92"/>
                </a:cubicBezTo>
                <a:cubicBezTo>
                  <a:pt x="46" y="92"/>
                  <a:pt x="46" y="92"/>
                  <a:pt x="46" y="92"/>
                </a:cubicBezTo>
                <a:cubicBezTo>
                  <a:pt x="72" y="92"/>
                  <a:pt x="92" y="71"/>
                  <a:pt x="92" y="45"/>
                </a:cubicBezTo>
                <a:cubicBezTo>
                  <a:pt x="92" y="20"/>
                  <a:pt x="72" y="0"/>
                  <a:pt x="47" y="0"/>
                </a:cubicBezTo>
                <a:close/>
                <a:moveTo>
                  <a:pt x="44" y="24"/>
                </a:moveTo>
                <a:cubicBezTo>
                  <a:pt x="44" y="23"/>
                  <a:pt x="45" y="22"/>
                  <a:pt x="46" y="22"/>
                </a:cubicBezTo>
                <a:cubicBezTo>
                  <a:pt x="47" y="22"/>
                  <a:pt x="48" y="23"/>
                  <a:pt x="48" y="24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53"/>
                  <a:pt x="47" y="54"/>
                  <a:pt x="46" y="54"/>
                </a:cubicBezTo>
                <a:cubicBezTo>
                  <a:pt x="45" y="54"/>
                  <a:pt x="44" y="53"/>
                  <a:pt x="44" y="52"/>
                </a:cubicBezTo>
                <a:lnTo>
                  <a:pt x="44" y="24"/>
                </a:lnTo>
                <a:close/>
                <a:moveTo>
                  <a:pt x="46" y="70"/>
                </a:moveTo>
                <a:cubicBezTo>
                  <a:pt x="46" y="70"/>
                  <a:pt x="46" y="70"/>
                  <a:pt x="46" y="70"/>
                </a:cubicBezTo>
                <a:cubicBezTo>
                  <a:pt x="44" y="70"/>
                  <a:pt x="42" y="68"/>
                  <a:pt x="42" y="66"/>
                </a:cubicBezTo>
                <a:cubicBezTo>
                  <a:pt x="42" y="64"/>
                  <a:pt x="44" y="62"/>
                  <a:pt x="46" y="62"/>
                </a:cubicBezTo>
                <a:cubicBezTo>
                  <a:pt x="46" y="62"/>
                  <a:pt x="46" y="62"/>
                  <a:pt x="46" y="62"/>
                </a:cubicBezTo>
                <a:cubicBezTo>
                  <a:pt x="48" y="62"/>
                  <a:pt x="50" y="64"/>
                  <a:pt x="50" y="66"/>
                </a:cubicBezTo>
                <a:cubicBezTo>
                  <a:pt x="50" y="68"/>
                  <a:pt x="48" y="70"/>
                  <a:pt x="46" y="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5247569-9256-4F3D-8E97-52B166CCBF15}"/>
              </a:ext>
            </a:extLst>
          </p:cNvPr>
          <p:cNvGrpSpPr/>
          <p:nvPr/>
        </p:nvGrpSpPr>
        <p:grpSpPr>
          <a:xfrm>
            <a:off x="5900739" y="2209802"/>
            <a:ext cx="360363" cy="314325"/>
            <a:chOff x="4833938" y="19050"/>
            <a:chExt cx="360363" cy="314325"/>
          </a:xfrm>
          <a:solidFill>
            <a:schemeClr val="bg1"/>
          </a:solidFill>
        </p:grpSpPr>
        <p:sp>
          <p:nvSpPr>
            <p:cNvPr id="44" name="Freeform 61">
              <a:extLst>
                <a:ext uri="{FF2B5EF4-FFF2-40B4-BE49-F238E27FC236}">
                  <a16:creationId xmlns:a16="http://schemas.microsoft.com/office/drawing/2014/main" id="{65A211B8-C4EF-48B7-AE76-62F797D5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19050"/>
              <a:ext cx="263525" cy="314325"/>
            </a:xfrm>
            <a:custGeom>
              <a:avLst/>
              <a:gdLst>
                <a:gd name="T0" fmla="*/ 68 w 70"/>
                <a:gd name="T1" fmla="*/ 7 h 84"/>
                <a:gd name="T2" fmla="*/ 55 w 70"/>
                <a:gd name="T3" fmla="*/ 3 h 84"/>
                <a:gd name="T4" fmla="*/ 42 w 70"/>
                <a:gd name="T5" fmla="*/ 0 h 84"/>
                <a:gd name="T6" fmla="*/ 20 w 70"/>
                <a:gd name="T7" fmla="*/ 0 h 84"/>
                <a:gd name="T8" fmla="*/ 12 w 70"/>
                <a:gd name="T9" fmla="*/ 8 h 84"/>
                <a:gd name="T10" fmla="*/ 13 w 70"/>
                <a:gd name="T11" fmla="*/ 13 h 84"/>
                <a:gd name="T12" fmla="*/ 8 w 70"/>
                <a:gd name="T13" fmla="*/ 20 h 84"/>
                <a:gd name="T14" fmla="*/ 9 w 70"/>
                <a:gd name="T15" fmla="*/ 25 h 84"/>
                <a:gd name="T16" fmla="*/ 4 w 70"/>
                <a:gd name="T17" fmla="*/ 32 h 84"/>
                <a:gd name="T18" fmla="*/ 5 w 70"/>
                <a:gd name="T19" fmla="*/ 37 h 84"/>
                <a:gd name="T20" fmla="*/ 0 w 70"/>
                <a:gd name="T21" fmla="*/ 44 h 84"/>
                <a:gd name="T22" fmla="*/ 8 w 70"/>
                <a:gd name="T23" fmla="*/ 52 h 84"/>
                <a:gd name="T24" fmla="*/ 33 w 70"/>
                <a:gd name="T25" fmla="*/ 52 h 84"/>
                <a:gd name="T26" fmla="*/ 30 w 70"/>
                <a:gd name="T27" fmla="*/ 74 h 84"/>
                <a:gd name="T28" fmla="*/ 39 w 70"/>
                <a:gd name="T29" fmla="*/ 84 h 84"/>
                <a:gd name="T30" fmla="*/ 46 w 70"/>
                <a:gd name="T31" fmla="*/ 77 h 84"/>
                <a:gd name="T32" fmla="*/ 68 w 70"/>
                <a:gd name="T33" fmla="*/ 45 h 84"/>
                <a:gd name="T34" fmla="*/ 70 w 70"/>
                <a:gd name="T35" fmla="*/ 43 h 84"/>
                <a:gd name="T36" fmla="*/ 70 w 70"/>
                <a:gd name="T37" fmla="*/ 9 h 84"/>
                <a:gd name="T38" fmla="*/ 68 w 70"/>
                <a:gd name="T39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4">
                  <a:moveTo>
                    <a:pt x="68" y="7"/>
                  </a:moveTo>
                  <a:cubicBezTo>
                    <a:pt x="62" y="6"/>
                    <a:pt x="58" y="5"/>
                    <a:pt x="55" y="3"/>
                  </a:cubicBezTo>
                  <a:cubicBezTo>
                    <a:pt x="52" y="2"/>
                    <a:pt x="48" y="0"/>
                    <a:pt x="4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2" y="4"/>
                    <a:pt x="12" y="8"/>
                  </a:cubicBezTo>
                  <a:cubicBezTo>
                    <a:pt x="12" y="10"/>
                    <a:pt x="12" y="11"/>
                    <a:pt x="13" y="13"/>
                  </a:cubicBezTo>
                  <a:cubicBezTo>
                    <a:pt x="10" y="14"/>
                    <a:pt x="8" y="17"/>
                    <a:pt x="8" y="20"/>
                  </a:cubicBezTo>
                  <a:cubicBezTo>
                    <a:pt x="8" y="22"/>
                    <a:pt x="8" y="23"/>
                    <a:pt x="9" y="25"/>
                  </a:cubicBezTo>
                  <a:cubicBezTo>
                    <a:pt x="6" y="26"/>
                    <a:pt x="4" y="29"/>
                    <a:pt x="4" y="32"/>
                  </a:cubicBezTo>
                  <a:cubicBezTo>
                    <a:pt x="4" y="34"/>
                    <a:pt x="4" y="35"/>
                    <a:pt x="5" y="37"/>
                  </a:cubicBezTo>
                  <a:cubicBezTo>
                    <a:pt x="2" y="38"/>
                    <a:pt x="0" y="41"/>
                    <a:pt x="0" y="44"/>
                  </a:cubicBezTo>
                  <a:cubicBezTo>
                    <a:pt x="0" y="49"/>
                    <a:pt x="4" y="52"/>
                    <a:pt x="8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2" y="57"/>
                    <a:pt x="28" y="68"/>
                    <a:pt x="30" y="74"/>
                  </a:cubicBezTo>
                  <a:cubicBezTo>
                    <a:pt x="33" y="83"/>
                    <a:pt x="38" y="84"/>
                    <a:pt x="39" y="84"/>
                  </a:cubicBezTo>
                  <a:cubicBezTo>
                    <a:pt x="43" y="84"/>
                    <a:pt x="46" y="81"/>
                    <a:pt x="46" y="77"/>
                  </a:cubicBezTo>
                  <a:cubicBezTo>
                    <a:pt x="46" y="64"/>
                    <a:pt x="58" y="45"/>
                    <a:pt x="68" y="45"/>
                  </a:cubicBezTo>
                  <a:cubicBezTo>
                    <a:pt x="69" y="45"/>
                    <a:pt x="70" y="44"/>
                    <a:pt x="70" y="43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8"/>
                    <a:pt x="69" y="7"/>
                    <a:pt x="6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5" name="Freeform 62">
              <a:extLst>
                <a:ext uri="{FF2B5EF4-FFF2-40B4-BE49-F238E27FC236}">
                  <a16:creationId xmlns:a16="http://schemas.microsoft.com/office/drawing/2014/main" id="{7CE9425A-E6C3-4631-935D-53B5489FB7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813" y="19050"/>
              <a:ext cx="90488" cy="179388"/>
            </a:xfrm>
            <a:custGeom>
              <a:avLst/>
              <a:gdLst>
                <a:gd name="T0" fmla="*/ 22 w 24"/>
                <a:gd name="T1" fmla="*/ 0 h 48"/>
                <a:gd name="T2" fmla="*/ 2 w 24"/>
                <a:gd name="T3" fmla="*/ 0 h 48"/>
                <a:gd name="T4" fmla="*/ 0 w 24"/>
                <a:gd name="T5" fmla="*/ 2 h 48"/>
                <a:gd name="T6" fmla="*/ 0 w 24"/>
                <a:gd name="T7" fmla="*/ 46 h 48"/>
                <a:gd name="T8" fmla="*/ 2 w 24"/>
                <a:gd name="T9" fmla="*/ 48 h 48"/>
                <a:gd name="T10" fmla="*/ 22 w 24"/>
                <a:gd name="T11" fmla="*/ 48 h 48"/>
                <a:gd name="T12" fmla="*/ 24 w 24"/>
                <a:gd name="T13" fmla="*/ 46 h 48"/>
                <a:gd name="T14" fmla="*/ 24 w 24"/>
                <a:gd name="T15" fmla="*/ 2 h 48"/>
                <a:gd name="T16" fmla="*/ 22 w 24"/>
                <a:gd name="T17" fmla="*/ 0 h 48"/>
                <a:gd name="T18" fmla="*/ 10 w 24"/>
                <a:gd name="T19" fmla="*/ 11 h 48"/>
                <a:gd name="T20" fmla="*/ 8 w 24"/>
                <a:gd name="T21" fmla="*/ 9 h 48"/>
                <a:gd name="T22" fmla="*/ 10 w 24"/>
                <a:gd name="T23" fmla="*/ 7 h 48"/>
                <a:gd name="T24" fmla="*/ 12 w 24"/>
                <a:gd name="T25" fmla="*/ 9 h 48"/>
                <a:gd name="T26" fmla="*/ 10 w 24"/>
                <a:gd name="T27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8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3" y="48"/>
                    <a:pt x="24" y="47"/>
                    <a:pt x="24" y="46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  <a:moveTo>
                    <a:pt x="10" y="11"/>
                  </a:moveTo>
                  <a:cubicBezTo>
                    <a:pt x="9" y="11"/>
                    <a:pt x="8" y="10"/>
                    <a:pt x="8" y="9"/>
                  </a:cubicBezTo>
                  <a:cubicBezTo>
                    <a:pt x="8" y="8"/>
                    <a:pt x="9" y="7"/>
                    <a:pt x="10" y="7"/>
                  </a:cubicBezTo>
                  <a:cubicBezTo>
                    <a:pt x="11" y="7"/>
                    <a:pt x="12" y="8"/>
                    <a:pt x="12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0858BBE-0667-4F2A-8A7A-7697F2DB65F8}"/>
              </a:ext>
            </a:extLst>
          </p:cNvPr>
          <p:cNvSpPr txBox="1"/>
          <p:nvPr/>
        </p:nvSpPr>
        <p:spPr>
          <a:xfrm>
            <a:off x="1676931" y="1558442"/>
            <a:ext cx="1942095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FC421E0-A025-4B0D-8659-B669E9D9A4AF}"/>
              </a:ext>
            </a:extLst>
          </p:cNvPr>
          <p:cNvSpPr txBox="1"/>
          <p:nvPr/>
        </p:nvSpPr>
        <p:spPr>
          <a:xfrm>
            <a:off x="1643290" y="4015527"/>
            <a:ext cx="1942095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4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980CB85-E28C-42C1-B21E-F42E3C86AAC2}"/>
              </a:ext>
            </a:extLst>
          </p:cNvPr>
          <p:cNvSpPr txBox="1"/>
          <p:nvPr/>
        </p:nvSpPr>
        <p:spPr>
          <a:xfrm>
            <a:off x="8948401" y="1558442"/>
            <a:ext cx="1942095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4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57F4D81-E38A-48A8-903F-FD28ED7DF87F}"/>
              </a:ext>
            </a:extLst>
          </p:cNvPr>
          <p:cNvSpPr txBox="1"/>
          <p:nvPr/>
        </p:nvSpPr>
        <p:spPr>
          <a:xfrm>
            <a:off x="8914758" y="4015527"/>
            <a:ext cx="1942095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50" name="Google Shape;1496;p40">
            <a:extLst>
              <a:ext uri="{FF2B5EF4-FFF2-40B4-BE49-F238E27FC236}">
                <a16:creationId xmlns:a16="http://schemas.microsoft.com/office/drawing/2014/main" id="{078F39E1-5106-4217-AF57-BDEBD682CB8C}"/>
              </a:ext>
            </a:extLst>
          </p:cNvPr>
          <p:cNvSpPr txBox="1"/>
          <p:nvPr/>
        </p:nvSpPr>
        <p:spPr>
          <a:xfrm>
            <a:off x="4801628" y="642960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8E47A1A4-4280-40D0-8D08-747E58AFB281}"/>
              </a:ext>
            </a:extLst>
          </p:cNvPr>
          <p:cNvSpPr txBox="1"/>
          <p:nvPr/>
        </p:nvSpPr>
        <p:spPr>
          <a:xfrm>
            <a:off x="5057386" y="744641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783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>
            <a:extLst>
              <a:ext uri="{FF2B5EF4-FFF2-40B4-BE49-F238E27FC236}">
                <a16:creationId xmlns:a16="http://schemas.microsoft.com/office/drawing/2014/main" id="{0CE1F2E9-5D11-4CF9-96ED-F13E5A880CBA}"/>
              </a:ext>
            </a:extLst>
          </p:cNvPr>
          <p:cNvSpPr/>
          <p:nvPr/>
        </p:nvSpPr>
        <p:spPr>
          <a:xfrm flipV="1">
            <a:off x="-3" y="3554574"/>
            <a:ext cx="12201835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F42AE-A010-4798-9D6E-0E95ACB64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215" y="6369819"/>
            <a:ext cx="364202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B3087C7-49E0-4601-A87E-48C589EA39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87341"/>
              </p:ext>
            </p:extLst>
          </p:nvPr>
        </p:nvGraphicFramePr>
        <p:xfrm>
          <a:off x="635820" y="1549810"/>
          <a:ext cx="5302864" cy="43692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1" name="Group 40">
            <a:extLst>
              <a:ext uri="{FF2B5EF4-FFF2-40B4-BE49-F238E27FC236}">
                <a16:creationId xmlns:a16="http://schemas.microsoft.com/office/drawing/2014/main" id="{B6E3B2EF-D10F-43C8-9218-68A9C68DA652}"/>
              </a:ext>
            </a:extLst>
          </p:cNvPr>
          <p:cNvGrpSpPr/>
          <p:nvPr/>
        </p:nvGrpSpPr>
        <p:grpSpPr>
          <a:xfrm>
            <a:off x="6468857" y="3301027"/>
            <a:ext cx="866776" cy="866776"/>
            <a:chOff x="6468857" y="3301027"/>
            <a:chExt cx="866776" cy="86677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AB00F0A-8FF9-49FE-8F82-6AC6E3ABB14D}"/>
                </a:ext>
              </a:extLst>
            </p:cNvPr>
            <p:cNvGrpSpPr/>
            <p:nvPr/>
          </p:nvGrpSpPr>
          <p:grpSpPr>
            <a:xfrm>
              <a:off x="6468857" y="3301027"/>
              <a:ext cx="866776" cy="866776"/>
              <a:chOff x="6705600" y="1238250"/>
              <a:chExt cx="866776" cy="866776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E8720380-6353-4026-AA03-E4E6C6BBE8F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A35B550-AE1B-485C-91F5-C9FA070127CE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938FF5F-8DF2-4925-9BAE-D3DC67DAB8BE}"/>
                </a:ext>
              </a:extLst>
            </p:cNvPr>
            <p:cNvGrpSpPr/>
            <p:nvPr/>
          </p:nvGrpSpPr>
          <p:grpSpPr>
            <a:xfrm>
              <a:off x="6722064" y="3562171"/>
              <a:ext cx="360363" cy="344488"/>
              <a:chOff x="4833938" y="3983038"/>
              <a:chExt cx="360363" cy="344488"/>
            </a:xfrm>
            <a:solidFill>
              <a:schemeClr val="accent1"/>
            </a:solidFill>
          </p:grpSpPr>
          <p:sp>
            <p:nvSpPr>
              <p:cNvPr id="29" name="Freeform 76">
                <a:extLst>
                  <a:ext uri="{FF2B5EF4-FFF2-40B4-BE49-F238E27FC236}">
                    <a16:creationId xmlns:a16="http://schemas.microsoft.com/office/drawing/2014/main" id="{5B2B1AD7-3F99-47C3-879B-7E6B1F00C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4179888"/>
                <a:ext cx="74613" cy="128588"/>
              </a:xfrm>
              <a:custGeom>
                <a:avLst/>
                <a:gdLst>
                  <a:gd name="T0" fmla="*/ 18 w 20"/>
                  <a:gd name="T1" fmla="*/ 0 h 34"/>
                  <a:gd name="T2" fmla="*/ 2 w 20"/>
                  <a:gd name="T3" fmla="*/ 0 h 34"/>
                  <a:gd name="T4" fmla="*/ 0 w 20"/>
                  <a:gd name="T5" fmla="*/ 2 h 34"/>
                  <a:gd name="T6" fmla="*/ 0 w 20"/>
                  <a:gd name="T7" fmla="*/ 32 h 34"/>
                  <a:gd name="T8" fmla="*/ 2 w 20"/>
                  <a:gd name="T9" fmla="*/ 34 h 34"/>
                  <a:gd name="T10" fmla="*/ 18 w 20"/>
                  <a:gd name="T11" fmla="*/ 34 h 34"/>
                  <a:gd name="T12" fmla="*/ 20 w 20"/>
                  <a:gd name="T13" fmla="*/ 32 h 34"/>
                  <a:gd name="T14" fmla="*/ 20 w 20"/>
                  <a:gd name="T15" fmla="*/ 2 h 34"/>
                  <a:gd name="T16" fmla="*/ 18 w 20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34">
                    <a:moveTo>
                      <a:pt x="18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9" y="34"/>
                      <a:pt x="20" y="33"/>
                      <a:pt x="20" y="3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1"/>
                      <a:pt x="19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0" name="Freeform 77">
                <a:extLst>
                  <a:ext uri="{FF2B5EF4-FFF2-40B4-BE49-F238E27FC236}">
                    <a16:creationId xmlns:a16="http://schemas.microsoft.com/office/drawing/2014/main" id="{601333FD-2B5A-4476-82DB-98409CE8E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488" y="4194176"/>
                <a:ext cx="277813" cy="133350"/>
              </a:xfrm>
              <a:custGeom>
                <a:avLst/>
                <a:gdLst>
                  <a:gd name="T0" fmla="*/ 73 w 74"/>
                  <a:gd name="T1" fmla="*/ 13 h 35"/>
                  <a:gd name="T2" fmla="*/ 59 w 74"/>
                  <a:gd name="T3" fmla="*/ 8 h 35"/>
                  <a:gd name="T4" fmla="*/ 47 w 74"/>
                  <a:gd name="T5" fmla="*/ 12 h 35"/>
                  <a:gd name="T6" fmla="*/ 47 w 74"/>
                  <a:gd name="T7" fmla="*/ 14 h 35"/>
                  <a:gd name="T8" fmla="*/ 45 w 74"/>
                  <a:gd name="T9" fmla="*/ 21 h 35"/>
                  <a:gd name="T10" fmla="*/ 38 w 74"/>
                  <a:gd name="T11" fmla="*/ 24 h 35"/>
                  <a:gd name="T12" fmla="*/ 18 w 74"/>
                  <a:gd name="T13" fmla="*/ 24 h 35"/>
                  <a:gd name="T14" fmla="*/ 16 w 74"/>
                  <a:gd name="T15" fmla="*/ 22 h 35"/>
                  <a:gd name="T16" fmla="*/ 18 w 74"/>
                  <a:gd name="T17" fmla="*/ 20 h 35"/>
                  <a:gd name="T18" fmla="*/ 38 w 74"/>
                  <a:gd name="T19" fmla="*/ 20 h 35"/>
                  <a:gd name="T20" fmla="*/ 42 w 74"/>
                  <a:gd name="T21" fmla="*/ 18 h 35"/>
                  <a:gd name="T22" fmla="*/ 43 w 74"/>
                  <a:gd name="T23" fmla="*/ 14 h 35"/>
                  <a:gd name="T24" fmla="*/ 38 w 74"/>
                  <a:gd name="T25" fmla="*/ 8 h 35"/>
                  <a:gd name="T26" fmla="*/ 27 w 74"/>
                  <a:gd name="T27" fmla="*/ 8 h 35"/>
                  <a:gd name="T28" fmla="*/ 26 w 74"/>
                  <a:gd name="T29" fmla="*/ 8 h 35"/>
                  <a:gd name="T30" fmla="*/ 25 w 74"/>
                  <a:gd name="T31" fmla="*/ 7 h 35"/>
                  <a:gd name="T32" fmla="*/ 8 w 74"/>
                  <a:gd name="T33" fmla="*/ 0 h 35"/>
                  <a:gd name="T34" fmla="*/ 2 w 74"/>
                  <a:gd name="T35" fmla="*/ 0 h 35"/>
                  <a:gd name="T36" fmla="*/ 0 w 74"/>
                  <a:gd name="T37" fmla="*/ 2 h 35"/>
                  <a:gd name="T38" fmla="*/ 0 w 74"/>
                  <a:gd name="T39" fmla="*/ 24 h 35"/>
                  <a:gd name="T40" fmla="*/ 1 w 74"/>
                  <a:gd name="T41" fmla="*/ 26 h 35"/>
                  <a:gd name="T42" fmla="*/ 16 w 74"/>
                  <a:gd name="T43" fmla="*/ 31 h 35"/>
                  <a:gd name="T44" fmla="*/ 32 w 74"/>
                  <a:gd name="T45" fmla="*/ 35 h 35"/>
                  <a:gd name="T46" fmla="*/ 49 w 74"/>
                  <a:gd name="T47" fmla="*/ 29 h 35"/>
                  <a:gd name="T48" fmla="*/ 73 w 74"/>
                  <a:gd name="T49" fmla="*/ 16 h 35"/>
                  <a:gd name="T50" fmla="*/ 74 w 74"/>
                  <a:gd name="T51" fmla="*/ 14 h 35"/>
                  <a:gd name="T52" fmla="*/ 73 w 74"/>
                  <a:gd name="T53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4" h="35">
                    <a:moveTo>
                      <a:pt x="73" y="13"/>
                    </a:moveTo>
                    <a:cubicBezTo>
                      <a:pt x="69" y="8"/>
                      <a:pt x="65" y="7"/>
                      <a:pt x="59" y="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3"/>
                      <a:pt x="47" y="13"/>
                      <a:pt x="47" y="14"/>
                    </a:cubicBezTo>
                    <a:cubicBezTo>
                      <a:pt x="47" y="17"/>
                      <a:pt x="47" y="19"/>
                      <a:pt x="45" y="21"/>
                    </a:cubicBezTo>
                    <a:cubicBezTo>
                      <a:pt x="43" y="23"/>
                      <a:pt x="41" y="24"/>
                      <a:pt x="38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4"/>
                      <a:pt x="16" y="23"/>
                      <a:pt x="16" y="22"/>
                    </a:cubicBezTo>
                    <a:cubicBezTo>
                      <a:pt x="16" y="21"/>
                      <a:pt x="17" y="20"/>
                      <a:pt x="18" y="2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40" y="20"/>
                      <a:pt x="41" y="19"/>
                      <a:pt x="42" y="18"/>
                    </a:cubicBezTo>
                    <a:cubicBezTo>
                      <a:pt x="43" y="17"/>
                      <a:pt x="43" y="16"/>
                      <a:pt x="43" y="14"/>
                    </a:cubicBezTo>
                    <a:cubicBezTo>
                      <a:pt x="43" y="12"/>
                      <a:pt x="42" y="8"/>
                      <a:pt x="38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5" y="8"/>
                      <a:pt x="25" y="8"/>
                      <a:pt x="25" y="7"/>
                    </a:cubicBezTo>
                    <a:cubicBezTo>
                      <a:pt x="23" y="6"/>
                      <a:pt x="17" y="0"/>
                      <a:pt x="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8" y="28"/>
                      <a:pt x="12" y="30"/>
                      <a:pt x="16" y="31"/>
                    </a:cubicBezTo>
                    <a:cubicBezTo>
                      <a:pt x="24" y="34"/>
                      <a:pt x="28" y="35"/>
                      <a:pt x="32" y="35"/>
                    </a:cubicBezTo>
                    <a:cubicBezTo>
                      <a:pt x="37" y="35"/>
                      <a:pt x="41" y="33"/>
                      <a:pt x="49" y="29"/>
                    </a:cubicBezTo>
                    <a:cubicBezTo>
                      <a:pt x="54" y="26"/>
                      <a:pt x="62" y="21"/>
                      <a:pt x="73" y="16"/>
                    </a:cubicBezTo>
                    <a:cubicBezTo>
                      <a:pt x="73" y="15"/>
                      <a:pt x="74" y="15"/>
                      <a:pt x="74" y="14"/>
                    </a:cubicBezTo>
                    <a:cubicBezTo>
                      <a:pt x="74" y="14"/>
                      <a:pt x="74" y="13"/>
                      <a:pt x="7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Freeform 78">
                <a:extLst>
                  <a:ext uri="{FF2B5EF4-FFF2-40B4-BE49-F238E27FC236}">
                    <a16:creationId xmlns:a16="http://schemas.microsoft.com/office/drawing/2014/main" id="{91EA57DC-1843-4D27-AA00-2DBFF272D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7138" y="3983038"/>
                <a:ext cx="104775" cy="106363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2" name="Freeform 79">
                <a:extLst>
                  <a:ext uri="{FF2B5EF4-FFF2-40B4-BE49-F238E27FC236}">
                    <a16:creationId xmlns:a16="http://schemas.microsoft.com/office/drawing/2014/main" id="{1643BE21-BE4D-4AE7-BE1A-5CADBFE253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4089401"/>
                <a:ext cx="104775" cy="104775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FD860A7-32CC-4002-BDB8-A9E0CB4858CE}"/>
              </a:ext>
            </a:extLst>
          </p:cNvPr>
          <p:cNvGrpSpPr/>
          <p:nvPr/>
        </p:nvGrpSpPr>
        <p:grpSpPr>
          <a:xfrm>
            <a:off x="6468857" y="4976205"/>
            <a:ext cx="866776" cy="866776"/>
            <a:chOff x="6468857" y="4976205"/>
            <a:chExt cx="866776" cy="86677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B7D27A5-556B-417B-B0EE-897F2649D109}"/>
                </a:ext>
              </a:extLst>
            </p:cNvPr>
            <p:cNvGrpSpPr/>
            <p:nvPr/>
          </p:nvGrpSpPr>
          <p:grpSpPr>
            <a:xfrm>
              <a:off x="6468857" y="4976205"/>
              <a:ext cx="866776" cy="866776"/>
              <a:chOff x="6705600" y="1238250"/>
              <a:chExt cx="866776" cy="86677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88E9E5-CD0D-4949-AFDC-1FF41740A4E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2E39987-BF7A-4372-9CBE-35BA1CAC6CA0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3D91512-9E0B-4EA8-A132-1A5B0CCF507C}"/>
                </a:ext>
              </a:extLst>
            </p:cNvPr>
            <p:cNvGrpSpPr/>
            <p:nvPr/>
          </p:nvGrpSpPr>
          <p:grpSpPr>
            <a:xfrm>
              <a:off x="6722064" y="5233381"/>
              <a:ext cx="360363" cy="352425"/>
              <a:chOff x="2676526" y="4681538"/>
              <a:chExt cx="360363" cy="352425"/>
            </a:xfrm>
            <a:solidFill>
              <a:schemeClr val="accent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B778D83E-7188-492D-90A2-66BD9910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6" y="4794250"/>
                <a:ext cx="360363" cy="239713"/>
              </a:xfrm>
              <a:custGeom>
                <a:avLst/>
                <a:gdLst>
                  <a:gd name="T0" fmla="*/ 94 w 96"/>
                  <a:gd name="T1" fmla="*/ 60 h 64"/>
                  <a:gd name="T2" fmla="*/ 92 w 96"/>
                  <a:gd name="T3" fmla="*/ 60 h 64"/>
                  <a:gd name="T4" fmla="*/ 92 w 96"/>
                  <a:gd name="T5" fmla="*/ 2 h 64"/>
                  <a:gd name="T6" fmla="*/ 90 w 96"/>
                  <a:gd name="T7" fmla="*/ 0 h 64"/>
                  <a:gd name="T8" fmla="*/ 78 w 96"/>
                  <a:gd name="T9" fmla="*/ 0 h 64"/>
                  <a:gd name="T10" fmla="*/ 76 w 96"/>
                  <a:gd name="T11" fmla="*/ 2 h 64"/>
                  <a:gd name="T12" fmla="*/ 76 w 96"/>
                  <a:gd name="T13" fmla="*/ 60 h 64"/>
                  <a:gd name="T14" fmla="*/ 68 w 96"/>
                  <a:gd name="T15" fmla="*/ 60 h 64"/>
                  <a:gd name="T16" fmla="*/ 68 w 96"/>
                  <a:gd name="T17" fmla="*/ 18 h 64"/>
                  <a:gd name="T18" fmla="*/ 66 w 96"/>
                  <a:gd name="T19" fmla="*/ 16 h 64"/>
                  <a:gd name="T20" fmla="*/ 54 w 96"/>
                  <a:gd name="T21" fmla="*/ 16 h 64"/>
                  <a:gd name="T22" fmla="*/ 52 w 96"/>
                  <a:gd name="T23" fmla="*/ 18 h 64"/>
                  <a:gd name="T24" fmla="*/ 52 w 96"/>
                  <a:gd name="T25" fmla="*/ 60 h 64"/>
                  <a:gd name="T26" fmla="*/ 44 w 96"/>
                  <a:gd name="T27" fmla="*/ 60 h 64"/>
                  <a:gd name="T28" fmla="*/ 44 w 96"/>
                  <a:gd name="T29" fmla="*/ 34 h 64"/>
                  <a:gd name="T30" fmla="*/ 42 w 96"/>
                  <a:gd name="T31" fmla="*/ 32 h 64"/>
                  <a:gd name="T32" fmla="*/ 30 w 96"/>
                  <a:gd name="T33" fmla="*/ 32 h 64"/>
                  <a:gd name="T34" fmla="*/ 28 w 96"/>
                  <a:gd name="T35" fmla="*/ 34 h 64"/>
                  <a:gd name="T36" fmla="*/ 28 w 96"/>
                  <a:gd name="T37" fmla="*/ 60 h 64"/>
                  <a:gd name="T38" fmla="*/ 20 w 96"/>
                  <a:gd name="T39" fmla="*/ 60 h 64"/>
                  <a:gd name="T40" fmla="*/ 20 w 96"/>
                  <a:gd name="T41" fmla="*/ 50 h 64"/>
                  <a:gd name="T42" fmla="*/ 18 w 96"/>
                  <a:gd name="T43" fmla="*/ 48 h 64"/>
                  <a:gd name="T44" fmla="*/ 6 w 96"/>
                  <a:gd name="T45" fmla="*/ 48 h 64"/>
                  <a:gd name="T46" fmla="*/ 4 w 96"/>
                  <a:gd name="T47" fmla="*/ 50 h 64"/>
                  <a:gd name="T48" fmla="*/ 4 w 96"/>
                  <a:gd name="T49" fmla="*/ 60 h 64"/>
                  <a:gd name="T50" fmla="*/ 2 w 96"/>
                  <a:gd name="T51" fmla="*/ 60 h 64"/>
                  <a:gd name="T52" fmla="*/ 0 w 96"/>
                  <a:gd name="T53" fmla="*/ 62 h 64"/>
                  <a:gd name="T54" fmla="*/ 2 w 96"/>
                  <a:gd name="T55" fmla="*/ 64 h 64"/>
                  <a:gd name="T56" fmla="*/ 94 w 96"/>
                  <a:gd name="T57" fmla="*/ 64 h 64"/>
                  <a:gd name="T58" fmla="*/ 96 w 96"/>
                  <a:gd name="T59" fmla="*/ 62 h 64"/>
                  <a:gd name="T60" fmla="*/ 94 w 96"/>
                  <a:gd name="T61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6" h="64">
                    <a:moveTo>
                      <a:pt x="94" y="60"/>
                    </a:moveTo>
                    <a:cubicBezTo>
                      <a:pt x="92" y="60"/>
                      <a:pt x="92" y="60"/>
                      <a:pt x="92" y="60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0"/>
                      <a:pt x="76" y="1"/>
                      <a:pt x="76" y="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7" y="16"/>
                      <a:pt x="66" y="16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3" y="16"/>
                      <a:pt x="52" y="17"/>
                      <a:pt x="52" y="1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4" y="34"/>
                      <a:pt x="44" y="34"/>
                      <a:pt x="44" y="34"/>
                    </a:cubicBezTo>
                    <a:cubicBezTo>
                      <a:pt x="44" y="33"/>
                      <a:pt x="43" y="32"/>
                      <a:pt x="42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3"/>
                      <a:pt x="28" y="34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49"/>
                      <a:pt x="19" y="48"/>
                      <a:pt x="18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5" y="48"/>
                      <a:pt x="4" y="49"/>
                      <a:pt x="4" y="5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0" y="61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94" y="64"/>
                      <a:pt x="94" y="64"/>
                      <a:pt x="94" y="64"/>
                    </a:cubicBezTo>
                    <a:cubicBezTo>
                      <a:pt x="95" y="64"/>
                      <a:pt x="96" y="63"/>
                      <a:pt x="96" y="62"/>
                    </a:cubicBezTo>
                    <a:cubicBezTo>
                      <a:pt x="96" y="61"/>
                      <a:pt x="95" y="60"/>
                      <a:pt x="9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554294EA-37B2-49C2-8C26-C3485A727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4681538"/>
                <a:ext cx="285750" cy="203200"/>
              </a:xfrm>
              <a:custGeom>
                <a:avLst/>
                <a:gdLst>
                  <a:gd name="T0" fmla="*/ 2 w 76"/>
                  <a:gd name="T1" fmla="*/ 54 h 54"/>
                  <a:gd name="T2" fmla="*/ 3 w 76"/>
                  <a:gd name="T3" fmla="*/ 54 h 54"/>
                  <a:gd name="T4" fmla="*/ 71 w 76"/>
                  <a:gd name="T5" fmla="*/ 8 h 54"/>
                  <a:gd name="T6" fmla="*/ 70 w 76"/>
                  <a:gd name="T7" fmla="*/ 20 h 54"/>
                  <a:gd name="T8" fmla="*/ 72 w 76"/>
                  <a:gd name="T9" fmla="*/ 22 h 54"/>
                  <a:gd name="T10" fmla="*/ 72 w 76"/>
                  <a:gd name="T11" fmla="*/ 22 h 54"/>
                  <a:gd name="T12" fmla="*/ 74 w 76"/>
                  <a:gd name="T13" fmla="*/ 20 h 54"/>
                  <a:gd name="T14" fmla="*/ 76 w 76"/>
                  <a:gd name="T15" fmla="*/ 4 h 54"/>
                  <a:gd name="T16" fmla="*/ 74 w 76"/>
                  <a:gd name="T17" fmla="*/ 2 h 54"/>
                  <a:gd name="T18" fmla="*/ 58 w 76"/>
                  <a:gd name="T19" fmla="*/ 0 h 54"/>
                  <a:gd name="T20" fmla="*/ 56 w 76"/>
                  <a:gd name="T21" fmla="*/ 2 h 54"/>
                  <a:gd name="T22" fmla="*/ 58 w 76"/>
                  <a:gd name="T23" fmla="*/ 4 h 54"/>
                  <a:gd name="T24" fmla="*/ 68 w 76"/>
                  <a:gd name="T25" fmla="*/ 5 h 54"/>
                  <a:gd name="T26" fmla="*/ 1 w 76"/>
                  <a:gd name="T27" fmla="*/ 50 h 54"/>
                  <a:gd name="T28" fmla="*/ 0 w 76"/>
                  <a:gd name="T29" fmla="*/ 53 h 54"/>
                  <a:gd name="T30" fmla="*/ 2 w 76"/>
                  <a:gd name="T3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54">
                    <a:moveTo>
                      <a:pt x="2" y="54"/>
                    </a:moveTo>
                    <a:cubicBezTo>
                      <a:pt x="2" y="54"/>
                      <a:pt x="3" y="54"/>
                      <a:pt x="3" y="54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70" y="21"/>
                      <a:pt x="71" y="22"/>
                      <a:pt x="72" y="22"/>
                    </a:cubicBezTo>
                    <a:cubicBezTo>
                      <a:pt x="72" y="22"/>
                      <a:pt x="72" y="22"/>
                      <a:pt x="72" y="22"/>
                    </a:cubicBezTo>
                    <a:cubicBezTo>
                      <a:pt x="73" y="22"/>
                      <a:pt x="74" y="21"/>
                      <a:pt x="74" y="20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3"/>
                      <a:pt x="75" y="2"/>
                      <a:pt x="74" y="2"/>
                    </a:cubicBezTo>
                    <a:cubicBezTo>
                      <a:pt x="74" y="2"/>
                      <a:pt x="58" y="0"/>
                      <a:pt x="58" y="0"/>
                    </a:cubicBezTo>
                    <a:cubicBezTo>
                      <a:pt x="57" y="0"/>
                      <a:pt x="56" y="1"/>
                      <a:pt x="56" y="2"/>
                    </a:cubicBezTo>
                    <a:cubicBezTo>
                      <a:pt x="56" y="3"/>
                      <a:pt x="57" y="4"/>
                      <a:pt x="58" y="4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51"/>
                      <a:pt x="0" y="52"/>
                      <a:pt x="0" y="53"/>
                    </a:cubicBezTo>
                    <a:cubicBezTo>
                      <a:pt x="1" y="54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3731F5F-18F2-485D-97B0-BBE267E5E573}"/>
              </a:ext>
            </a:extLst>
          </p:cNvPr>
          <p:cNvGrpSpPr/>
          <p:nvPr/>
        </p:nvGrpSpPr>
        <p:grpSpPr>
          <a:xfrm>
            <a:off x="6468857" y="1655031"/>
            <a:ext cx="866776" cy="866776"/>
            <a:chOff x="6468857" y="1655031"/>
            <a:chExt cx="866776" cy="86677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EB978E7-A19C-4366-B94D-EEC57A5AE8DC}"/>
                </a:ext>
              </a:extLst>
            </p:cNvPr>
            <p:cNvGrpSpPr/>
            <p:nvPr/>
          </p:nvGrpSpPr>
          <p:grpSpPr>
            <a:xfrm>
              <a:off x="6468857" y="1655031"/>
              <a:ext cx="866776" cy="866776"/>
              <a:chOff x="6705600" y="1238250"/>
              <a:chExt cx="866776" cy="866776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A46D147-0CC5-4735-AE1F-65BCC6509DC0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97103F70-3F4B-4955-9BCE-2928397D6D93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1C3C6FB-F663-4CEB-B8B8-BE75520C94D3}"/>
                </a:ext>
              </a:extLst>
            </p:cNvPr>
            <p:cNvGrpSpPr/>
            <p:nvPr/>
          </p:nvGrpSpPr>
          <p:grpSpPr>
            <a:xfrm>
              <a:off x="6722064" y="1908238"/>
              <a:ext cx="360363" cy="360363"/>
              <a:chOff x="3397251" y="1066800"/>
              <a:chExt cx="360363" cy="360363"/>
            </a:xfrm>
            <a:solidFill>
              <a:schemeClr val="accent1"/>
            </a:solidFill>
          </p:grpSpPr>
          <p:sp>
            <p:nvSpPr>
              <p:cNvPr id="37" name="Freeform 282">
                <a:extLst>
                  <a:ext uri="{FF2B5EF4-FFF2-40B4-BE49-F238E27FC236}">
                    <a16:creationId xmlns:a16="http://schemas.microsoft.com/office/drawing/2014/main" id="{7242EC86-718F-46F4-AC76-D0A7B9616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1" y="1187450"/>
                <a:ext cx="360363" cy="239713"/>
              </a:xfrm>
              <a:custGeom>
                <a:avLst/>
                <a:gdLst>
                  <a:gd name="T0" fmla="*/ 94 w 96"/>
                  <a:gd name="T1" fmla="*/ 40 h 64"/>
                  <a:gd name="T2" fmla="*/ 28 w 96"/>
                  <a:gd name="T3" fmla="*/ 40 h 64"/>
                  <a:gd name="T4" fmla="*/ 28 w 96"/>
                  <a:gd name="T5" fmla="*/ 26 h 64"/>
                  <a:gd name="T6" fmla="*/ 40 w 96"/>
                  <a:gd name="T7" fmla="*/ 2 h 64"/>
                  <a:gd name="T8" fmla="*/ 38 w 96"/>
                  <a:gd name="T9" fmla="*/ 0 h 64"/>
                  <a:gd name="T10" fmla="*/ 2 w 96"/>
                  <a:gd name="T11" fmla="*/ 0 h 64"/>
                  <a:gd name="T12" fmla="*/ 0 w 96"/>
                  <a:gd name="T13" fmla="*/ 2 h 64"/>
                  <a:gd name="T14" fmla="*/ 12 w 96"/>
                  <a:gd name="T15" fmla="*/ 26 h 64"/>
                  <a:gd name="T16" fmla="*/ 12 w 96"/>
                  <a:gd name="T17" fmla="*/ 40 h 64"/>
                  <a:gd name="T18" fmla="*/ 2 w 96"/>
                  <a:gd name="T19" fmla="*/ 40 h 64"/>
                  <a:gd name="T20" fmla="*/ 0 w 96"/>
                  <a:gd name="T21" fmla="*/ 42 h 64"/>
                  <a:gd name="T22" fmla="*/ 2 w 96"/>
                  <a:gd name="T23" fmla="*/ 44 h 64"/>
                  <a:gd name="T24" fmla="*/ 42 w 96"/>
                  <a:gd name="T25" fmla="*/ 44 h 64"/>
                  <a:gd name="T26" fmla="*/ 28 w 96"/>
                  <a:gd name="T27" fmla="*/ 61 h 64"/>
                  <a:gd name="T28" fmla="*/ 28 w 96"/>
                  <a:gd name="T29" fmla="*/ 63 h 64"/>
                  <a:gd name="T30" fmla="*/ 30 w 96"/>
                  <a:gd name="T31" fmla="*/ 64 h 64"/>
                  <a:gd name="T32" fmla="*/ 62 w 96"/>
                  <a:gd name="T33" fmla="*/ 64 h 64"/>
                  <a:gd name="T34" fmla="*/ 64 w 96"/>
                  <a:gd name="T35" fmla="*/ 63 h 64"/>
                  <a:gd name="T36" fmla="*/ 64 w 96"/>
                  <a:gd name="T37" fmla="*/ 61 h 64"/>
                  <a:gd name="T38" fmla="*/ 50 w 96"/>
                  <a:gd name="T39" fmla="*/ 44 h 64"/>
                  <a:gd name="T40" fmla="*/ 94 w 96"/>
                  <a:gd name="T41" fmla="*/ 44 h 64"/>
                  <a:gd name="T42" fmla="*/ 96 w 96"/>
                  <a:gd name="T43" fmla="*/ 42 h 64"/>
                  <a:gd name="T44" fmla="*/ 94 w 96"/>
                  <a:gd name="T45" fmla="*/ 4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" h="64">
                    <a:moveTo>
                      <a:pt x="94" y="40"/>
                    </a:move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36" y="22"/>
                      <a:pt x="40" y="11"/>
                      <a:pt x="40" y="2"/>
                    </a:cubicBezTo>
                    <a:cubicBezTo>
                      <a:pt x="40" y="1"/>
                      <a:pt x="39" y="0"/>
                      <a:pt x="3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1"/>
                      <a:pt x="4" y="22"/>
                      <a:pt x="12" y="26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41"/>
                      <a:pt x="0" y="42"/>
                    </a:cubicBezTo>
                    <a:cubicBezTo>
                      <a:pt x="0" y="43"/>
                      <a:pt x="1" y="44"/>
                      <a:pt x="2" y="44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61"/>
                      <a:pt x="28" y="62"/>
                      <a:pt x="28" y="63"/>
                    </a:cubicBezTo>
                    <a:cubicBezTo>
                      <a:pt x="29" y="64"/>
                      <a:pt x="29" y="64"/>
                      <a:pt x="30" y="64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3" y="64"/>
                      <a:pt x="63" y="64"/>
                      <a:pt x="64" y="63"/>
                    </a:cubicBezTo>
                    <a:cubicBezTo>
                      <a:pt x="64" y="62"/>
                      <a:pt x="64" y="61"/>
                      <a:pt x="64" y="61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4"/>
                      <a:pt x="96" y="43"/>
                      <a:pt x="96" y="42"/>
                    </a:cubicBezTo>
                    <a:cubicBezTo>
                      <a:pt x="96" y="41"/>
                      <a:pt x="95" y="40"/>
                      <a:pt x="94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8" name="Freeform 283">
                <a:extLst>
                  <a:ext uri="{FF2B5EF4-FFF2-40B4-BE49-F238E27FC236}">
                    <a16:creationId xmlns:a16="http://schemas.microsoft.com/office/drawing/2014/main" id="{5DDD6AC0-E324-456F-852A-F4AD1CE552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2513" y="1141413"/>
                <a:ext cx="165100" cy="166688"/>
              </a:xfrm>
              <a:custGeom>
                <a:avLst/>
                <a:gdLst>
                  <a:gd name="T0" fmla="*/ 22 w 44"/>
                  <a:gd name="T1" fmla="*/ 44 h 44"/>
                  <a:gd name="T2" fmla="*/ 44 w 44"/>
                  <a:gd name="T3" fmla="*/ 22 h 44"/>
                  <a:gd name="T4" fmla="*/ 22 w 44"/>
                  <a:gd name="T5" fmla="*/ 0 h 44"/>
                  <a:gd name="T6" fmla="*/ 0 w 44"/>
                  <a:gd name="T7" fmla="*/ 22 h 44"/>
                  <a:gd name="T8" fmla="*/ 22 w 44"/>
                  <a:gd name="T9" fmla="*/ 44 h 44"/>
                  <a:gd name="T10" fmla="*/ 22 w 44"/>
                  <a:gd name="T11" fmla="*/ 24 h 44"/>
                  <a:gd name="T12" fmla="*/ 15 w 44"/>
                  <a:gd name="T13" fmla="*/ 17 h 44"/>
                  <a:gd name="T14" fmla="*/ 20 w 44"/>
                  <a:gd name="T15" fmla="*/ 11 h 44"/>
                  <a:gd name="T16" fmla="*/ 20 w 44"/>
                  <a:gd name="T17" fmla="*/ 10 h 44"/>
                  <a:gd name="T18" fmla="*/ 22 w 44"/>
                  <a:gd name="T19" fmla="*/ 8 h 44"/>
                  <a:gd name="T20" fmla="*/ 24 w 44"/>
                  <a:gd name="T21" fmla="*/ 10 h 44"/>
                  <a:gd name="T22" fmla="*/ 24 w 44"/>
                  <a:gd name="T23" fmla="*/ 11 h 44"/>
                  <a:gd name="T24" fmla="*/ 29 w 44"/>
                  <a:gd name="T25" fmla="*/ 17 h 44"/>
                  <a:gd name="T26" fmla="*/ 27 w 44"/>
                  <a:gd name="T27" fmla="*/ 19 h 44"/>
                  <a:gd name="T28" fmla="*/ 25 w 44"/>
                  <a:gd name="T29" fmla="*/ 17 h 44"/>
                  <a:gd name="T30" fmla="*/ 22 w 44"/>
                  <a:gd name="T31" fmla="*/ 15 h 44"/>
                  <a:gd name="T32" fmla="*/ 19 w 44"/>
                  <a:gd name="T33" fmla="*/ 17 h 44"/>
                  <a:gd name="T34" fmla="*/ 22 w 44"/>
                  <a:gd name="T35" fmla="*/ 20 h 44"/>
                  <a:gd name="T36" fmla="*/ 29 w 44"/>
                  <a:gd name="T37" fmla="*/ 27 h 44"/>
                  <a:gd name="T38" fmla="*/ 24 w 44"/>
                  <a:gd name="T39" fmla="*/ 33 h 44"/>
                  <a:gd name="T40" fmla="*/ 24 w 44"/>
                  <a:gd name="T41" fmla="*/ 34 h 44"/>
                  <a:gd name="T42" fmla="*/ 22 w 44"/>
                  <a:gd name="T43" fmla="*/ 36 h 44"/>
                  <a:gd name="T44" fmla="*/ 20 w 44"/>
                  <a:gd name="T45" fmla="*/ 34 h 44"/>
                  <a:gd name="T46" fmla="*/ 20 w 44"/>
                  <a:gd name="T47" fmla="*/ 33 h 44"/>
                  <a:gd name="T48" fmla="*/ 15 w 44"/>
                  <a:gd name="T49" fmla="*/ 27 h 44"/>
                  <a:gd name="T50" fmla="*/ 17 w 44"/>
                  <a:gd name="T51" fmla="*/ 25 h 44"/>
                  <a:gd name="T52" fmla="*/ 19 w 44"/>
                  <a:gd name="T53" fmla="*/ 27 h 44"/>
                  <a:gd name="T54" fmla="*/ 22 w 44"/>
                  <a:gd name="T55" fmla="*/ 29 h 44"/>
                  <a:gd name="T56" fmla="*/ 25 w 44"/>
                  <a:gd name="T57" fmla="*/ 27 h 44"/>
                  <a:gd name="T58" fmla="*/ 22 w 44"/>
                  <a:gd name="T5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4" h="44">
                    <a:moveTo>
                      <a:pt x="22" y="44"/>
                    </a:move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34"/>
                      <a:pt x="10" y="44"/>
                      <a:pt x="22" y="44"/>
                    </a:cubicBezTo>
                    <a:close/>
                    <a:moveTo>
                      <a:pt x="22" y="24"/>
                    </a:moveTo>
                    <a:cubicBezTo>
                      <a:pt x="18" y="24"/>
                      <a:pt x="15" y="21"/>
                      <a:pt x="15" y="17"/>
                    </a:cubicBezTo>
                    <a:cubicBezTo>
                      <a:pt x="15" y="14"/>
                      <a:pt x="17" y="12"/>
                      <a:pt x="20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9"/>
                      <a:pt x="21" y="8"/>
                      <a:pt x="22" y="8"/>
                    </a:cubicBezTo>
                    <a:cubicBezTo>
                      <a:pt x="23" y="8"/>
                      <a:pt x="24" y="9"/>
                      <a:pt x="24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7" y="12"/>
                      <a:pt x="29" y="14"/>
                      <a:pt x="29" y="17"/>
                    </a:cubicBezTo>
                    <a:cubicBezTo>
                      <a:pt x="29" y="18"/>
                      <a:pt x="28" y="19"/>
                      <a:pt x="27" y="19"/>
                    </a:cubicBezTo>
                    <a:cubicBezTo>
                      <a:pt x="26" y="19"/>
                      <a:pt x="25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21" y="15"/>
                      <a:pt x="19" y="16"/>
                      <a:pt x="19" y="17"/>
                    </a:cubicBezTo>
                    <a:cubicBezTo>
                      <a:pt x="19" y="19"/>
                      <a:pt x="21" y="20"/>
                      <a:pt x="22" y="20"/>
                    </a:cubicBezTo>
                    <a:cubicBezTo>
                      <a:pt x="26" y="20"/>
                      <a:pt x="29" y="23"/>
                      <a:pt x="29" y="27"/>
                    </a:cubicBezTo>
                    <a:cubicBezTo>
                      <a:pt x="29" y="30"/>
                      <a:pt x="27" y="32"/>
                      <a:pt x="24" y="3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3" y="36"/>
                      <a:pt x="22" y="36"/>
                    </a:cubicBezTo>
                    <a:cubicBezTo>
                      <a:pt x="21" y="36"/>
                      <a:pt x="20" y="35"/>
                      <a:pt x="20" y="3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17" y="32"/>
                      <a:pt x="15" y="30"/>
                      <a:pt x="15" y="27"/>
                    </a:cubicBezTo>
                    <a:cubicBezTo>
                      <a:pt x="15" y="26"/>
                      <a:pt x="16" y="25"/>
                      <a:pt x="17" y="25"/>
                    </a:cubicBezTo>
                    <a:cubicBezTo>
                      <a:pt x="18" y="25"/>
                      <a:pt x="19" y="26"/>
                      <a:pt x="19" y="27"/>
                    </a:cubicBezTo>
                    <a:cubicBezTo>
                      <a:pt x="19" y="28"/>
                      <a:pt x="21" y="29"/>
                      <a:pt x="22" y="29"/>
                    </a:cubicBezTo>
                    <a:cubicBezTo>
                      <a:pt x="23" y="29"/>
                      <a:pt x="25" y="28"/>
                      <a:pt x="25" y="27"/>
                    </a:cubicBezTo>
                    <a:cubicBezTo>
                      <a:pt x="25" y="25"/>
                      <a:pt x="23" y="24"/>
                      <a:pt x="2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9" name="Oval 284">
                <a:extLst>
                  <a:ext uri="{FF2B5EF4-FFF2-40B4-BE49-F238E27FC236}">
                    <a16:creationId xmlns:a16="http://schemas.microsoft.com/office/drawing/2014/main" id="{76F2452E-EA8D-4DD3-892E-471F41FDB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476" y="1066800"/>
                <a:ext cx="106363" cy="1047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sp>
        <p:nvSpPr>
          <p:cNvPr id="4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349CFAF-05D5-48CA-89B1-831A30A0E4B9}"/>
              </a:ext>
            </a:extLst>
          </p:cNvPr>
          <p:cNvSpPr txBox="1"/>
          <p:nvPr/>
        </p:nvSpPr>
        <p:spPr>
          <a:xfrm>
            <a:off x="7593601" y="1690227"/>
            <a:ext cx="328660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p14="http://schemas.microsoft.com/office/powerpoint/2010/main" xmlns:c="http://schemas.openxmlformats.org/drawingml/2006/chart" xmlns:a14="http://schemas.microsoft.com/office/drawing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, Synergistically utilize technically sound, </a:t>
            </a:r>
          </a:p>
        </p:txBody>
      </p:sp>
      <p:sp>
        <p:nvSpPr>
          <p:cNvPr id="4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CB9D87D-A5EA-4BE1-8894-ED8FA3919D69}"/>
              </a:ext>
            </a:extLst>
          </p:cNvPr>
          <p:cNvSpPr txBox="1"/>
          <p:nvPr/>
        </p:nvSpPr>
        <p:spPr>
          <a:xfrm>
            <a:off x="7576139" y="3219214"/>
            <a:ext cx="328660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p14="http://schemas.microsoft.com/office/powerpoint/2010/main" xmlns:c="http://schemas.openxmlformats.org/drawingml/2006/chart" xmlns:a14="http://schemas.microsoft.com/office/drawing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, Synergistically utilize technically sound, </a:t>
            </a:r>
          </a:p>
        </p:txBody>
      </p:sp>
      <p:sp>
        <p:nvSpPr>
          <p:cNvPr id="4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5FC0B4F-2348-4508-AB7D-93346EA71349}"/>
              </a:ext>
            </a:extLst>
          </p:cNvPr>
          <p:cNvSpPr txBox="1"/>
          <p:nvPr/>
        </p:nvSpPr>
        <p:spPr>
          <a:xfrm>
            <a:off x="7593601" y="4960273"/>
            <a:ext cx="328660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p14="http://schemas.microsoft.com/office/powerpoint/2010/main" xmlns:c="http://schemas.openxmlformats.org/drawingml/2006/chart" xmlns:a14="http://schemas.microsoft.com/office/drawing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, Synergistically utilize technically sound, </a:t>
            </a:r>
          </a:p>
        </p:txBody>
      </p:sp>
      <p:sp>
        <p:nvSpPr>
          <p:cNvPr id="46" name="Google Shape;1496;p40">
            <a:extLst>
              <a:ext uri="{FF2B5EF4-FFF2-40B4-BE49-F238E27FC236}">
                <a16:creationId xmlns:a16="http://schemas.microsoft.com/office/drawing/2014/main" id="{74CD267D-C881-4B11-A033-540345C44D38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5D1968FC-4811-410F-B1C7-42BC4D7DDF8A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310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c="http://schemas.openxmlformats.org/drawingml/2006/chart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9317D2B5-8A6D-4602-AC79-52BE5D77FD4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>
                <a:cs typeface="+mn-ea"/>
                <a:sym typeface="+mn-lt"/>
              </a:rPr>
              <a:pPr/>
              <a:t>14</a:t>
            </a:fld>
            <a:endParaRPr lang="en">
              <a:cs typeface="+mn-ea"/>
              <a:sym typeface="+mn-lt"/>
            </a:endParaRPr>
          </a:p>
        </p:txBody>
      </p:sp>
      <p:sp>
        <p:nvSpPr>
          <p:cNvPr id="3" name="iŝļîḓe">
            <a:extLst>
              <a:ext uri="{FF2B5EF4-FFF2-40B4-BE49-F238E27FC236}">
                <a16:creationId xmlns:a16="http://schemas.microsoft.com/office/drawing/2014/main" id="{971BE834-92C8-438A-8365-8F05107EFFC1}"/>
              </a:ext>
            </a:extLst>
          </p:cNvPr>
          <p:cNvSpPr/>
          <p:nvPr/>
        </p:nvSpPr>
        <p:spPr>
          <a:xfrm>
            <a:off x="575587" y="3608424"/>
            <a:ext cx="2565183" cy="53993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altLang="zh-CN" dirty="0">
                <a:solidFill>
                  <a:prstClr val="white"/>
                </a:solidFill>
                <a:cs typeface="+mn-ea"/>
                <a:sym typeface="+mn-lt"/>
              </a:rPr>
              <a:t> </a:t>
            </a:r>
            <a:endParaRPr lang="zh-CN" alt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" name="ïšľîḑe">
            <a:extLst>
              <a:ext uri="{FF2B5EF4-FFF2-40B4-BE49-F238E27FC236}">
                <a16:creationId xmlns:a16="http://schemas.microsoft.com/office/drawing/2014/main" id="{0AB440A3-74D6-49C5-BA2F-BC7DF331156E}"/>
              </a:ext>
            </a:extLst>
          </p:cNvPr>
          <p:cNvSpPr/>
          <p:nvPr/>
        </p:nvSpPr>
        <p:spPr>
          <a:xfrm>
            <a:off x="575587" y="4148364"/>
            <a:ext cx="2565183" cy="148695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200" dirty="0">
                <a:solidFill>
                  <a:schemeClr val="bg2">
                    <a:lumMod val="7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5" name="iṥḷïḋê">
            <a:extLst>
              <a:ext uri="{FF2B5EF4-FFF2-40B4-BE49-F238E27FC236}">
                <a16:creationId xmlns:a16="http://schemas.microsoft.com/office/drawing/2014/main" id="{3C36A02C-33AF-4919-8E16-2BA9B38A388B}"/>
              </a:ext>
            </a:extLst>
          </p:cNvPr>
          <p:cNvSpPr/>
          <p:nvPr/>
        </p:nvSpPr>
        <p:spPr bwMode="auto">
          <a:xfrm>
            <a:off x="2365563" y="5433476"/>
            <a:ext cx="437399" cy="401517"/>
          </a:xfrm>
          <a:custGeom>
            <a:avLst/>
            <a:gdLst>
              <a:gd name="T0" fmla="*/ 0 w 452"/>
              <a:gd name="T1" fmla="*/ 0 h 430"/>
              <a:gd name="T2" fmla="*/ 452 w 452"/>
              <a:gd name="T3" fmla="*/ 0 h 430"/>
              <a:gd name="T4" fmla="*/ 452 w 452"/>
              <a:gd name="T5" fmla="*/ 430 h 430"/>
              <a:gd name="T6" fmla="*/ 0 w 452"/>
              <a:gd name="T7" fmla="*/ 430 h 430"/>
              <a:gd name="T8" fmla="*/ 0 w 452"/>
              <a:gd name="T9" fmla="*/ 0 h 430"/>
              <a:gd name="T10" fmla="*/ 0 w 452"/>
              <a:gd name="T11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2" h="430">
                <a:moveTo>
                  <a:pt x="0" y="0"/>
                </a:moveTo>
                <a:lnTo>
                  <a:pt x="452" y="0"/>
                </a:lnTo>
                <a:lnTo>
                  <a:pt x="452" y="430"/>
                </a:lnTo>
                <a:lnTo>
                  <a:pt x="0" y="43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C3B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" name="îšľîḋè">
            <a:extLst>
              <a:ext uri="{FF2B5EF4-FFF2-40B4-BE49-F238E27FC236}">
                <a16:creationId xmlns:a16="http://schemas.microsoft.com/office/drawing/2014/main" id="{FB05F20D-75E1-4C33-A7E2-C381E4F62E3C}"/>
              </a:ext>
            </a:extLst>
          </p:cNvPr>
          <p:cNvSpPr txBox="1"/>
          <p:nvPr/>
        </p:nvSpPr>
        <p:spPr>
          <a:xfrm>
            <a:off x="575587" y="3608420"/>
            <a:ext cx="2565183" cy="539940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íṩḻîḍè">
            <a:extLst>
              <a:ext uri="{FF2B5EF4-FFF2-40B4-BE49-F238E27FC236}">
                <a16:creationId xmlns:a16="http://schemas.microsoft.com/office/drawing/2014/main" id="{8FDC713F-6717-4ADE-A59E-A0C758BAE4F7}"/>
              </a:ext>
            </a:extLst>
          </p:cNvPr>
          <p:cNvSpPr txBox="1"/>
          <p:nvPr/>
        </p:nvSpPr>
        <p:spPr>
          <a:xfrm>
            <a:off x="2365564" y="5433476"/>
            <a:ext cx="438243" cy="401517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400">
              <a:defRPr>
                <a:solidFill>
                  <a:prstClr val="white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>
                <a:latin typeface="+mn-lt"/>
                <a:cs typeface="+mn-ea"/>
                <a:sym typeface="+mn-lt"/>
              </a:rPr>
              <a:t>1</a:t>
            </a:r>
          </a:p>
        </p:txBody>
      </p:sp>
      <p:sp>
        <p:nvSpPr>
          <p:cNvPr id="8" name="î$liďe">
            <a:extLst>
              <a:ext uri="{FF2B5EF4-FFF2-40B4-BE49-F238E27FC236}">
                <a16:creationId xmlns:a16="http://schemas.microsoft.com/office/drawing/2014/main" id="{59BC5418-8C4B-4FEF-B5DD-A17AB18FDC6F}"/>
              </a:ext>
            </a:extLst>
          </p:cNvPr>
          <p:cNvSpPr/>
          <p:nvPr/>
        </p:nvSpPr>
        <p:spPr>
          <a:xfrm>
            <a:off x="575587" y="952075"/>
            <a:ext cx="2565183" cy="2656345"/>
          </a:xfrm>
          <a:prstGeom prst="rect">
            <a:avLst/>
          </a:prstGeom>
          <a:blipFill>
            <a:blip r:embed="rId2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iṥ1iḑé">
            <a:extLst>
              <a:ext uri="{FF2B5EF4-FFF2-40B4-BE49-F238E27FC236}">
                <a16:creationId xmlns:a16="http://schemas.microsoft.com/office/drawing/2014/main" id="{4F2D2F5E-75D0-419B-997D-DAECC59DEAA4}"/>
              </a:ext>
            </a:extLst>
          </p:cNvPr>
          <p:cNvSpPr/>
          <p:nvPr/>
        </p:nvSpPr>
        <p:spPr>
          <a:xfrm>
            <a:off x="3335794" y="3607883"/>
            <a:ext cx="2565183" cy="53993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altLang="zh-CN" dirty="0">
                <a:solidFill>
                  <a:prstClr val="white"/>
                </a:solidFill>
                <a:cs typeface="+mn-ea"/>
                <a:sym typeface="+mn-lt"/>
              </a:rPr>
              <a:t> </a:t>
            </a:r>
            <a:endParaRPr lang="zh-CN" alt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" name="îśļîḓê">
            <a:extLst>
              <a:ext uri="{FF2B5EF4-FFF2-40B4-BE49-F238E27FC236}">
                <a16:creationId xmlns:a16="http://schemas.microsoft.com/office/drawing/2014/main" id="{158BBF27-2B40-4D0D-B473-DCFA9D049564}"/>
              </a:ext>
            </a:extLst>
          </p:cNvPr>
          <p:cNvSpPr/>
          <p:nvPr/>
        </p:nvSpPr>
        <p:spPr>
          <a:xfrm>
            <a:off x="3335794" y="4147822"/>
            <a:ext cx="2565183" cy="148695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200" dirty="0">
                <a:solidFill>
                  <a:schemeClr val="bg2">
                    <a:lumMod val="7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11" name="íṥlíḓé">
            <a:extLst>
              <a:ext uri="{FF2B5EF4-FFF2-40B4-BE49-F238E27FC236}">
                <a16:creationId xmlns:a16="http://schemas.microsoft.com/office/drawing/2014/main" id="{02DF354D-729B-439B-B290-906236F82434}"/>
              </a:ext>
            </a:extLst>
          </p:cNvPr>
          <p:cNvSpPr/>
          <p:nvPr/>
        </p:nvSpPr>
        <p:spPr bwMode="auto">
          <a:xfrm>
            <a:off x="5134594" y="5434017"/>
            <a:ext cx="437399" cy="401517"/>
          </a:xfrm>
          <a:custGeom>
            <a:avLst/>
            <a:gdLst>
              <a:gd name="T0" fmla="*/ 0 w 452"/>
              <a:gd name="T1" fmla="*/ 0 h 430"/>
              <a:gd name="T2" fmla="*/ 452 w 452"/>
              <a:gd name="T3" fmla="*/ 0 h 430"/>
              <a:gd name="T4" fmla="*/ 452 w 452"/>
              <a:gd name="T5" fmla="*/ 430 h 430"/>
              <a:gd name="T6" fmla="*/ 0 w 452"/>
              <a:gd name="T7" fmla="*/ 430 h 430"/>
              <a:gd name="T8" fmla="*/ 0 w 452"/>
              <a:gd name="T9" fmla="*/ 0 h 430"/>
              <a:gd name="T10" fmla="*/ 0 w 452"/>
              <a:gd name="T11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2" h="430">
                <a:moveTo>
                  <a:pt x="0" y="0"/>
                </a:moveTo>
                <a:lnTo>
                  <a:pt x="452" y="0"/>
                </a:lnTo>
                <a:lnTo>
                  <a:pt x="452" y="430"/>
                </a:lnTo>
                <a:lnTo>
                  <a:pt x="0" y="43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C3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iŝľiḍè">
            <a:extLst>
              <a:ext uri="{FF2B5EF4-FFF2-40B4-BE49-F238E27FC236}">
                <a16:creationId xmlns:a16="http://schemas.microsoft.com/office/drawing/2014/main" id="{E8F2AA99-6ABA-45B2-94FC-6F6B9910BFD9}"/>
              </a:ext>
            </a:extLst>
          </p:cNvPr>
          <p:cNvSpPr txBox="1"/>
          <p:nvPr/>
        </p:nvSpPr>
        <p:spPr>
          <a:xfrm>
            <a:off x="3335794" y="3607881"/>
            <a:ext cx="2565183" cy="539940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i$ľïdè">
            <a:extLst>
              <a:ext uri="{FF2B5EF4-FFF2-40B4-BE49-F238E27FC236}">
                <a16:creationId xmlns:a16="http://schemas.microsoft.com/office/drawing/2014/main" id="{F5B68D70-452A-4E4F-BA3E-EECF7DD80F49}"/>
              </a:ext>
            </a:extLst>
          </p:cNvPr>
          <p:cNvSpPr txBox="1"/>
          <p:nvPr/>
        </p:nvSpPr>
        <p:spPr>
          <a:xfrm>
            <a:off x="5134593" y="5434017"/>
            <a:ext cx="438243" cy="401517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400">
              <a:defRPr>
                <a:solidFill>
                  <a:prstClr val="white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latin typeface="+mn-lt"/>
                <a:cs typeface="+mn-ea"/>
                <a:sym typeface="+mn-lt"/>
              </a:rPr>
              <a:t>2</a:t>
            </a:r>
          </a:p>
        </p:txBody>
      </p:sp>
      <p:sp>
        <p:nvSpPr>
          <p:cNvPr id="14" name="ïşļîḓé">
            <a:extLst>
              <a:ext uri="{FF2B5EF4-FFF2-40B4-BE49-F238E27FC236}">
                <a16:creationId xmlns:a16="http://schemas.microsoft.com/office/drawing/2014/main" id="{9906ED4D-EF1C-44AD-96A4-19425F1D8347}"/>
              </a:ext>
            </a:extLst>
          </p:cNvPr>
          <p:cNvSpPr/>
          <p:nvPr/>
        </p:nvSpPr>
        <p:spPr>
          <a:xfrm>
            <a:off x="3335794" y="951532"/>
            <a:ext cx="2565183" cy="2656346"/>
          </a:xfrm>
          <a:prstGeom prst="rect">
            <a:avLst/>
          </a:prstGeom>
          <a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solidFill>
                <a:schemeClr val="bg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5" name="ïṣlïḓe">
            <a:extLst>
              <a:ext uri="{FF2B5EF4-FFF2-40B4-BE49-F238E27FC236}">
                <a16:creationId xmlns:a16="http://schemas.microsoft.com/office/drawing/2014/main" id="{D5DFF032-D17C-4514-8B84-7BCECCB1FE31}"/>
              </a:ext>
            </a:extLst>
          </p:cNvPr>
          <p:cNvSpPr/>
          <p:nvPr/>
        </p:nvSpPr>
        <p:spPr>
          <a:xfrm>
            <a:off x="6096001" y="3608424"/>
            <a:ext cx="2565183" cy="53993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altLang="zh-CN" dirty="0">
                <a:solidFill>
                  <a:prstClr val="white"/>
                </a:solidFill>
                <a:cs typeface="+mn-ea"/>
                <a:sym typeface="+mn-lt"/>
              </a:rPr>
              <a:t> </a:t>
            </a:r>
            <a:endParaRPr lang="zh-CN" alt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6" name="ïŝḷiḋê">
            <a:extLst>
              <a:ext uri="{FF2B5EF4-FFF2-40B4-BE49-F238E27FC236}">
                <a16:creationId xmlns:a16="http://schemas.microsoft.com/office/drawing/2014/main" id="{2EFC194C-2C6B-4821-8743-550CCEEC758F}"/>
              </a:ext>
            </a:extLst>
          </p:cNvPr>
          <p:cNvSpPr/>
          <p:nvPr/>
        </p:nvSpPr>
        <p:spPr>
          <a:xfrm>
            <a:off x="6096001" y="4148364"/>
            <a:ext cx="2565183" cy="148695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200" dirty="0">
                <a:solidFill>
                  <a:schemeClr val="bg2">
                    <a:lumMod val="7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17" name="iśľîďè">
            <a:extLst>
              <a:ext uri="{FF2B5EF4-FFF2-40B4-BE49-F238E27FC236}">
                <a16:creationId xmlns:a16="http://schemas.microsoft.com/office/drawing/2014/main" id="{1480B24F-8B01-4FE8-981F-C67B15F157A8}"/>
              </a:ext>
            </a:extLst>
          </p:cNvPr>
          <p:cNvSpPr/>
          <p:nvPr/>
        </p:nvSpPr>
        <p:spPr bwMode="auto">
          <a:xfrm>
            <a:off x="7899538" y="5433476"/>
            <a:ext cx="437399" cy="401517"/>
          </a:xfrm>
          <a:custGeom>
            <a:avLst/>
            <a:gdLst>
              <a:gd name="T0" fmla="*/ 0 w 452"/>
              <a:gd name="T1" fmla="*/ 0 h 430"/>
              <a:gd name="T2" fmla="*/ 452 w 452"/>
              <a:gd name="T3" fmla="*/ 0 h 430"/>
              <a:gd name="T4" fmla="*/ 452 w 452"/>
              <a:gd name="T5" fmla="*/ 430 h 430"/>
              <a:gd name="T6" fmla="*/ 0 w 452"/>
              <a:gd name="T7" fmla="*/ 430 h 430"/>
              <a:gd name="T8" fmla="*/ 0 w 452"/>
              <a:gd name="T9" fmla="*/ 0 h 430"/>
              <a:gd name="T10" fmla="*/ 0 w 452"/>
              <a:gd name="T11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2" h="430">
                <a:moveTo>
                  <a:pt x="0" y="0"/>
                </a:moveTo>
                <a:lnTo>
                  <a:pt x="452" y="0"/>
                </a:lnTo>
                <a:lnTo>
                  <a:pt x="452" y="430"/>
                </a:lnTo>
                <a:lnTo>
                  <a:pt x="0" y="43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C3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ïş1îḓè">
            <a:extLst>
              <a:ext uri="{FF2B5EF4-FFF2-40B4-BE49-F238E27FC236}">
                <a16:creationId xmlns:a16="http://schemas.microsoft.com/office/drawing/2014/main" id="{92BC9F04-99E9-4AA9-A7BA-99EF197DF396}"/>
              </a:ext>
            </a:extLst>
          </p:cNvPr>
          <p:cNvSpPr txBox="1"/>
          <p:nvPr/>
        </p:nvSpPr>
        <p:spPr>
          <a:xfrm>
            <a:off x="6096001" y="3608420"/>
            <a:ext cx="2565183" cy="539940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" name="iŝliďé">
            <a:extLst>
              <a:ext uri="{FF2B5EF4-FFF2-40B4-BE49-F238E27FC236}">
                <a16:creationId xmlns:a16="http://schemas.microsoft.com/office/drawing/2014/main" id="{52A40186-90EF-43CC-9B5A-0FC2566AF1EB}"/>
              </a:ext>
            </a:extLst>
          </p:cNvPr>
          <p:cNvSpPr txBox="1"/>
          <p:nvPr/>
        </p:nvSpPr>
        <p:spPr>
          <a:xfrm>
            <a:off x="7899539" y="5433476"/>
            <a:ext cx="438243" cy="401517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400">
              <a:defRPr>
                <a:solidFill>
                  <a:prstClr val="white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>
                <a:latin typeface="+mn-lt"/>
                <a:cs typeface="+mn-ea"/>
                <a:sym typeface="+mn-lt"/>
              </a:rPr>
              <a:t>3</a:t>
            </a:r>
          </a:p>
        </p:txBody>
      </p:sp>
      <p:sp>
        <p:nvSpPr>
          <p:cNvPr id="20" name="íŝḷíḑe">
            <a:extLst>
              <a:ext uri="{FF2B5EF4-FFF2-40B4-BE49-F238E27FC236}">
                <a16:creationId xmlns:a16="http://schemas.microsoft.com/office/drawing/2014/main" id="{4E6E49E9-D0E3-40BD-9994-6D04A0638080}"/>
              </a:ext>
            </a:extLst>
          </p:cNvPr>
          <p:cNvSpPr/>
          <p:nvPr/>
        </p:nvSpPr>
        <p:spPr>
          <a:xfrm>
            <a:off x="6096001" y="952075"/>
            <a:ext cx="2565183" cy="2656345"/>
          </a:xfrm>
          <a:prstGeom prst="rect">
            <a:avLst/>
          </a:prstGeom>
          <a:blipFill>
            <a:blip r:embed="rId4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solidFill>
                <a:schemeClr val="bg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1" name="íṡḻíḋé">
            <a:extLst>
              <a:ext uri="{FF2B5EF4-FFF2-40B4-BE49-F238E27FC236}">
                <a16:creationId xmlns:a16="http://schemas.microsoft.com/office/drawing/2014/main" id="{155AC92E-EECD-42FB-A7F1-0EB9563CB526}"/>
              </a:ext>
            </a:extLst>
          </p:cNvPr>
          <p:cNvSpPr/>
          <p:nvPr/>
        </p:nvSpPr>
        <p:spPr>
          <a:xfrm>
            <a:off x="8856206" y="3608424"/>
            <a:ext cx="2565183" cy="53993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-US" altLang="zh-CN" dirty="0">
                <a:solidFill>
                  <a:prstClr val="white"/>
                </a:solidFill>
                <a:cs typeface="+mn-ea"/>
                <a:sym typeface="+mn-lt"/>
              </a:rPr>
              <a:t> </a:t>
            </a:r>
            <a:endParaRPr lang="zh-CN" alt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2" name="îsḻîḓé">
            <a:extLst>
              <a:ext uri="{FF2B5EF4-FFF2-40B4-BE49-F238E27FC236}">
                <a16:creationId xmlns:a16="http://schemas.microsoft.com/office/drawing/2014/main" id="{06C89A26-A226-4004-A8DE-689A25EC5D3A}"/>
              </a:ext>
            </a:extLst>
          </p:cNvPr>
          <p:cNvSpPr/>
          <p:nvPr/>
        </p:nvSpPr>
        <p:spPr>
          <a:xfrm>
            <a:off x="8856206" y="4148364"/>
            <a:ext cx="2565183" cy="148695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200" dirty="0">
                <a:solidFill>
                  <a:schemeClr val="bg2">
                    <a:lumMod val="7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23" name="ïs1íďê">
            <a:extLst>
              <a:ext uri="{FF2B5EF4-FFF2-40B4-BE49-F238E27FC236}">
                <a16:creationId xmlns:a16="http://schemas.microsoft.com/office/drawing/2014/main" id="{9543047F-1FF6-46BC-8553-6ED22A12D739}"/>
              </a:ext>
            </a:extLst>
          </p:cNvPr>
          <p:cNvSpPr/>
          <p:nvPr/>
        </p:nvSpPr>
        <p:spPr bwMode="auto">
          <a:xfrm>
            <a:off x="10659743" y="5433476"/>
            <a:ext cx="437399" cy="401517"/>
          </a:xfrm>
          <a:custGeom>
            <a:avLst/>
            <a:gdLst>
              <a:gd name="T0" fmla="*/ 0 w 452"/>
              <a:gd name="T1" fmla="*/ 0 h 430"/>
              <a:gd name="T2" fmla="*/ 452 w 452"/>
              <a:gd name="T3" fmla="*/ 0 h 430"/>
              <a:gd name="T4" fmla="*/ 452 w 452"/>
              <a:gd name="T5" fmla="*/ 430 h 430"/>
              <a:gd name="T6" fmla="*/ 0 w 452"/>
              <a:gd name="T7" fmla="*/ 430 h 430"/>
              <a:gd name="T8" fmla="*/ 0 w 452"/>
              <a:gd name="T9" fmla="*/ 0 h 430"/>
              <a:gd name="T10" fmla="*/ 0 w 452"/>
              <a:gd name="T11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2" h="430">
                <a:moveTo>
                  <a:pt x="0" y="0"/>
                </a:moveTo>
                <a:lnTo>
                  <a:pt x="452" y="0"/>
                </a:lnTo>
                <a:lnTo>
                  <a:pt x="452" y="430"/>
                </a:lnTo>
                <a:lnTo>
                  <a:pt x="0" y="43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C3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4" name="îsḷïḓe">
            <a:extLst>
              <a:ext uri="{FF2B5EF4-FFF2-40B4-BE49-F238E27FC236}">
                <a16:creationId xmlns:a16="http://schemas.microsoft.com/office/drawing/2014/main" id="{C44C63A7-842A-42D9-89FD-663F3D385EF4}"/>
              </a:ext>
            </a:extLst>
          </p:cNvPr>
          <p:cNvSpPr txBox="1"/>
          <p:nvPr/>
        </p:nvSpPr>
        <p:spPr>
          <a:xfrm>
            <a:off x="8856206" y="3608420"/>
            <a:ext cx="2565183" cy="539940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" name="ïŝḷiḓé">
            <a:extLst>
              <a:ext uri="{FF2B5EF4-FFF2-40B4-BE49-F238E27FC236}">
                <a16:creationId xmlns:a16="http://schemas.microsoft.com/office/drawing/2014/main" id="{D47563C0-93F6-48A6-A6BA-F8B5C2C51E45}"/>
              </a:ext>
            </a:extLst>
          </p:cNvPr>
          <p:cNvSpPr txBox="1"/>
          <p:nvPr/>
        </p:nvSpPr>
        <p:spPr>
          <a:xfrm>
            <a:off x="10659744" y="5433476"/>
            <a:ext cx="438243" cy="401517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14400">
              <a:defRPr>
                <a:solidFill>
                  <a:prstClr val="white"/>
                </a:solidFill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>
                <a:latin typeface="+mn-lt"/>
                <a:cs typeface="+mn-ea"/>
                <a:sym typeface="+mn-lt"/>
              </a:rPr>
              <a:t>4</a:t>
            </a:r>
          </a:p>
        </p:txBody>
      </p:sp>
      <p:sp>
        <p:nvSpPr>
          <p:cNvPr id="26" name="iŝḷíḋé">
            <a:extLst>
              <a:ext uri="{FF2B5EF4-FFF2-40B4-BE49-F238E27FC236}">
                <a16:creationId xmlns:a16="http://schemas.microsoft.com/office/drawing/2014/main" id="{C5EA1AE8-F01A-4DD7-8351-508913AC1D8B}"/>
              </a:ext>
            </a:extLst>
          </p:cNvPr>
          <p:cNvSpPr/>
          <p:nvPr/>
        </p:nvSpPr>
        <p:spPr>
          <a:xfrm>
            <a:off x="8856206" y="952075"/>
            <a:ext cx="2565183" cy="2656345"/>
          </a:xfrm>
          <a:prstGeom prst="rect">
            <a:avLst/>
          </a:prstGeom>
          <a:blipFill>
            <a:blip r:embed="rId5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E7DD034-11CA-4AA9-A387-9A5706D8F081}"/>
              </a:ext>
            </a:extLst>
          </p:cNvPr>
          <p:cNvSpPr txBox="1"/>
          <p:nvPr/>
        </p:nvSpPr>
        <p:spPr>
          <a:xfrm>
            <a:off x="889690" y="4341596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317672B-82F9-4EAE-AB84-752C736541B0}"/>
              </a:ext>
            </a:extLst>
          </p:cNvPr>
          <p:cNvSpPr txBox="1"/>
          <p:nvPr/>
        </p:nvSpPr>
        <p:spPr>
          <a:xfrm>
            <a:off x="3610215" y="4387222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671DE36-D263-4154-909E-83836DD65A8F}"/>
              </a:ext>
            </a:extLst>
          </p:cNvPr>
          <p:cNvSpPr txBox="1"/>
          <p:nvPr/>
        </p:nvSpPr>
        <p:spPr>
          <a:xfrm>
            <a:off x="6270605" y="4441975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3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D7303F2-D82C-4DED-81B4-54018F00E837}"/>
              </a:ext>
            </a:extLst>
          </p:cNvPr>
          <p:cNvSpPr txBox="1"/>
          <p:nvPr/>
        </p:nvSpPr>
        <p:spPr>
          <a:xfrm>
            <a:off x="9108238" y="4441975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90AF8CAB-9693-4662-9DCC-9C7DB6F0F9C8}"/>
              </a:ext>
            </a:extLst>
          </p:cNvPr>
          <p:cNvSpPr txBox="1"/>
          <p:nvPr/>
        </p:nvSpPr>
        <p:spPr>
          <a:xfrm>
            <a:off x="812223" y="3710835"/>
            <a:ext cx="199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19543C7F-9A3B-453C-A29A-83C7B81D2A3B}"/>
              </a:ext>
            </a:extLst>
          </p:cNvPr>
          <p:cNvSpPr txBox="1"/>
          <p:nvPr/>
        </p:nvSpPr>
        <p:spPr>
          <a:xfrm>
            <a:off x="3623015" y="3710835"/>
            <a:ext cx="199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36C9D4F9-1226-4469-9F79-A6C72D7247BD}"/>
              </a:ext>
            </a:extLst>
          </p:cNvPr>
          <p:cNvSpPr txBox="1"/>
          <p:nvPr/>
        </p:nvSpPr>
        <p:spPr>
          <a:xfrm>
            <a:off x="6526947" y="3710835"/>
            <a:ext cx="199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D8218448-A3E8-4AA5-93CF-AB416ACFF092}"/>
              </a:ext>
            </a:extLst>
          </p:cNvPr>
          <p:cNvSpPr txBox="1"/>
          <p:nvPr/>
        </p:nvSpPr>
        <p:spPr>
          <a:xfrm>
            <a:off x="9108238" y="3710835"/>
            <a:ext cx="19907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9344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/>
      <p:bldP spid="32" grpId="0"/>
      <p:bldP spid="33" grpId="0"/>
      <p:bldP spid="3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9943E5-C2EF-4133-ADC8-92BBFCBEF39F}"/>
              </a:ext>
            </a:extLst>
          </p:cNvPr>
          <p:cNvGrpSpPr/>
          <p:nvPr/>
        </p:nvGrpSpPr>
        <p:grpSpPr>
          <a:xfrm>
            <a:off x="6264922" y="1132238"/>
            <a:ext cx="4576180" cy="4593524"/>
            <a:chOff x="6540501" y="0"/>
            <a:chExt cx="4896342" cy="49149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94E6301-EB23-4685-88EB-C44A54F0F7DD}"/>
                </a:ext>
              </a:extLst>
            </p:cNvPr>
            <p:cNvSpPr/>
            <p:nvPr/>
          </p:nvSpPr>
          <p:spPr>
            <a:xfrm>
              <a:off x="6540501" y="174627"/>
              <a:ext cx="4178300" cy="4740274"/>
            </a:xfrm>
            <a:prstGeom prst="roundRect">
              <a:avLst>
                <a:gd name="adj" fmla="val 676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11" name="Picture 10" descr="A close up of a tower&#10;&#10;Description automatically generated">
              <a:extLst>
                <a:ext uri="{FF2B5EF4-FFF2-40B4-BE49-F238E27FC236}">
                  <a16:creationId xmlns:a16="http://schemas.microsoft.com/office/drawing/2014/main" id="{377C7E56-A503-4A1C-A558-116396C5E3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99651" y="0"/>
              <a:ext cx="4537192" cy="4622800"/>
            </a:xfrm>
            <a:prstGeom prst="rect">
              <a:avLst/>
            </a:prstGeom>
          </p:spPr>
        </p:pic>
      </p:grp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1440862" y="1530429"/>
            <a:ext cx="703199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215" y="6369819"/>
            <a:ext cx="364202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31409A3-BCA5-4112-983E-0B015B4FEC9B}"/>
              </a:ext>
            </a:extLst>
          </p:cNvPr>
          <p:cNvSpPr txBox="1"/>
          <p:nvPr/>
        </p:nvSpPr>
        <p:spPr>
          <a:xfrm>
            <a:off x="1316175" y="2535319"/>
            <a:ext cx="44672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u="sng" dirty="0">
                <a:solidFill>
                  <a:srgbClr val="A43975"/>
                </a:solidFill>
                <a:cs typeface="+mn-ea"/>
                <a:sym typeface="+mn-lt"/>
              </a:rPr>
              <a:t>Part four</a:t>
            </a:r>
          </a:p>
        </p:txBody>
      </p:sp>
      <p:sp>
        <p:nvSpPr>
          <p:cNvPr id="16" name="Rectangle: Rounded Corners 10">
            <a:extLst>
              <a:ext uri="{FF2B5EF4-FFF2-40B4-BE49-F238E27FC236}">
                <a16:creationId xmlns:a16="http://schemas.microsoft.com/office/drawing/2014/main" id="{98FA1314-0C5F-4BDA-814F-E48678576C79}"/>
              </a:ext>
            </a:extLst>
          </p:cNvPr>
          <p:cNvSpPr/>
          <p:nvPr/>
        </p:nvSpPr>
        <p:spPr>
          <a:xfrm>
            <a:off x="1440861" y="459434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A2F7233-5CF3-4BAA-9DB3-924685106EE7}"/>
              </a:ext>
            </a:extLst>
          </p:cNvPr>
          <p:cNvSpPr txBox="1">
            <a:spLocks/>
          </p:cNvSpPr>
          <p:nvPr/>
        </p:nvSpPr>
        <p:spPr>
          <a:xfrm>
            <a:off x="1725794" y="479116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J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PPT.COM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328037-B8CC-4CFE-9C61-0B136E1EDB1B}"/>
              </a:ext>
            </a:extLst>
          </p:cNvPr>
          <p:cNvSpPr txBox="1"/>
          <p:nvPr/>
        </p:nvSpPr>
        <p:spPr>
          <a:xfrm>
            <a:off x="1440861" y="3649391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19" name="Google Shape;13;p2">
            <a:extLst>
              <a:ext uri="{FF2B5EF4-FFF2-40B4-BE49-F238E27FC236}">
                <a16:creationId xmlns:a16="http://schemas.microsoft.com/office/drawing/2014/main" id="{509DD1A6-1FA7-493E-B44D-F8868C2102FE}"/>
              </a:ext>
            </a:extLst>
          </p:cNvPr>
          <p:cNvSpPr/>
          <p:nvPr/>
        </p:nvSpPr>
        <p:spPr>
          <a:xfrm rot="12770">
            <a:off x="628033" y="2574350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" name="Google Shape;14;p2">
            <a:extLst>
              <a:ext uri="{FF2B5EF4-FFF2-40B4-BE49-F238E27FC236}">
                <a16:creationId xmlns:a16="http://schemas.microsoft.com/office/drawing/2014/main" id="{9FDDE0E7-DC25-48CF-AAB3-D30CE6AB5B87}"/>
              </a:ext>
            </a:extLst>
          </p:cNvPr>
          <p:cNvSpPr/>
          <p:nvPr/>
        </p:nvSpPr>
        <p:spPr>
          <a:xfrm rot="12770">
            <a:off x="1050772" y="2255542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997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/>
      <p:bldP spid="18" grpId="0" animBg="1"/>
      <p:bldP spid="19" grpId="0" animBg="1"/>
      <p:bldP spid="2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4" name="Google Shape;1414;p38"/>
          <p:cNvSpPr/>
          <p:nvPr/>
        </p:nvSpPr>
        <p:spPr>
          <a:xfrm>
            <a:off x="7838883" y="2470074"/>
            <a:ext cx="663911" cy="662768"/>
          </a:xfrm>
          <a:custGeom>
            <a:avLst/>
            <a:gdLst/>
            <a:ahLst/>
            <a:cxnLst/>
            <a:rect l="l" t="t" r="r" b="b"/>
            <a:pathLst>
              <a:path w="18590" h="18558" extrusionOk="0">
                <a:moveTo>
                  <a:pt x="9279" y="0"/>
                </a:moveTo>
                <a:cubicBezTo>
                  <a:pt x="4149" y="32"/>
                  <a:pt x="0" y="4180"/>
                  <a:pt x="32" y="9311"/>
                </a:cubicBezTo>
                <a:cubicBezTo>
                  <a:pt x="32" y="14441"/>
                  <a:pt x="4212" y="18558"/>
                  <a:pt x="9311" y="18558"/>
                </a:cubicBezTo>
                <a:cubicBezTo>
                  <a:pt x="14441" y="18558"/>
                  <a:pt x="18590" y="14378"/>
                  <a:pt x="18558" y="9247"/>
                </a:cubicBezTo>
                <a:cubicBezTo>
                  <a:pt x="18558" y="4149"/>
                  <a:pt x="14378" y="0"/>
                  <a:pt x="9279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15" name="Google Shape;1415;p38"/>
          <p:cNvSpPr/>
          <p:nvPr/>
        </p:nvSpPr>
        <p:spPr>
          <a:xfrm>
            <a:off x="6584595" y="5363176"/>
            <a:ext cx="663911" cy="662768"/>
          </a:xfrm>
          <a:custGeom>
            <a:avLst/>
            <a:gdLst/>
            <a:ahLst/>
            <a:cxnLst/>
            <a:rect l="l" t="t" r="r" b="b"/>
            <a:pathLst>
              <a:path w="18590" h="18558" extrusionOk="0">
                <a:moveTo>
                  <a:pt x="9279" y="0"/>
                </a:moveTo>
                <a:cubicBezTo>
                  <a:pt x="4149" y="32"/>
                  <a:pt x="0" y="4180"/>
                  <a:pt x="32" y="9311"/>
                </a:cubicBezTo>
                <a:cubicBezTo>
                  <a:pt x="32" y="14441"/>
                  <a:pt x="4212" y="18558"/>
                  <a:pt x="9311" y="18558"/>
                </a:cubicBezTo>
                <a:cubicBezTo>
                  <a:pt x="14441" y="18526"/>
                  <a:pt x="18590" y="14378"/>
                  <a:pt x="18558" y="9247"/>
                </a:cubicBezTo>
                <a:cubicBezTo>
                  <a:pt x="18558" y="4149"/>
                  <a:pt x="14378" y="0"/>
                  <a:pt x="9279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16" name="Google Shape;1416;p38"/>
          <p:cNvSpPr/>
          <p:nvPr/>
        </p:nvSpPr>
        <p:spPr>
          <a:xfrm>
            <a:off x="4945745" y="1216895"/>
            <a:ext cx="663947" cy="661697"/>
          </a:xfrm>
          <a:custGeom>
            <a:avLst/>
            <a:gdLst/>
            <a:ahLst/>
            <a:cxnLst/>
            <a:rect l="l" t="t" r="r" b="b"/>
            <a:pathLst>
              <a:path w="18591" h="18528" extrusionOk="0">
                <a:moveTo>
                  <a:pt x="9338" y="1"/>
                </a:moveTo>
                <a:cubicBezTo>
                  <a:pt x="9318" y="1"/>
                  <a:pt x="9299" y="1"/>
                  <a:pt x="9280" y="1"/>
                </a:cubicBezTo>
                <a:cubicBezTo>
                  <a:pt x="4149" y="1"/>
                  <a:pt x="1" y="4181"/>
                  <a:pt x="32" y="9280"/>
                </a:cubicBezTo>
                <a:cubicBezTo>
                  <a:pt x="32" y="14391"/>
                  <a:pt x="4181" y="18527"/>
                  <a:pt x="9253" y="18527"/>
                </a:cubicBezTo>
                <a:cubicBezTo>
                  <a:pt x="9273" y="18527"/>
                  <a:pt x="9292" y="18527"/>
                  <a:pt x="9311" y="18527"/>
                </a:cubicBezTo>
                <a:cubicBezTo>
                  <a:pt x="14442" y="18527"/>
                  <a:pt x="18590" y="14347"/>
                  <a:pt x="18559" y="9248"/>
                </a:cubicBezTo>
                <a:cubicBezTo>
                  <a:pt x="18559" y="4137"/>
                  <a:pt x="14410" y="1"/>
                  <a:pt x="9338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17" name="Google Shape;1417;p38"/>
          <p:cNvSpPr/>
          <p:nvPr/>
        </p:nvSpPr>
        <p:spPr>
          <a:xfrm>
            <a:off x="3692601" y="4109997"/>
            <a:ext cx="662804" cy="661697"/>
          </a:xfrm>
          <a:custGeom>
            <a:avLst/>
            <a:gdLst/>
            <a:ahLst/>
            <a:cxnLst/>
            <a:rect l="l" t="t" r="r" b="b"/>
            <a:pathLst>
              <a:path w="18559" h="18528" extrusionOk="0">
                <a:moveTo>
                  <a:pt x="9306" y="1"/>
                </a:moveTo>
                <a:cubicBezTo>
                  <a:pt x="9287" y="1"/>
                  <a:pt x="9267" y="1"/>
                  <a:pt x="9248" y="1"/>
                </a:cubicBezTo>
                <a:cubicBezTo>
                  <a:pt x="4117" y="1"/>
                  <a:pt x="0" y="4181"/>
                  <a:pt x="0" y="9280"/>
                </a:cubicBezTo>
                <a:cubicBezTo>
                  <a:pt x="32" y="14391"/>
                  <a:pt x="4149" y="18527"/>
                  <a:pt x="9221" y="18527"/>
                </a:cubicBezTo>
                <a:cubicBezTo>
                  <a:pt x="9241" y="18527"/>
                  <a:pt x="9260" y="18527"/>
                  <a:pt x="9279" y="18527"/>
                </a:cubicBezTo>
                <a:cubicBezTo>
                  <a:pt x="14410" y="18527"/>
                  <a:pt x="18558" y="14347"/>
                  <a:pt x="18527" y="9248"/>
                </a:cubicBezTo>
                <a:cubicBezTo>
                  <a:pt x="18527" y="4137"/>
                  <a:pt x="14410" y="1"/>
                  <a:pt x="930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18" name="Google Shape;1418;p38"/>
          <p:cNvSpPr/>
          <p:nvPr/>
        </p:nvSpPr>
        <p:spPr>
          <a:xfrm>
            <a:off x="6721449" y="5498889"/>
            <a:ext cx="391347" cy="391347"/>
          </a:xfrm>
          <a:custGeom>
            <a:avLst/>
            <a:gdLst/>
            <a:ahLst/>
            <a:cxnLst/>
            <a:rect l="l" t="t" r="r" b="b"/>
            <a:pathLst>
              <a:path w="10958" h="10958" extrusionOk="0">
                <a:moveTo>
                  <a:pt x="7696" y="1299"/>
                </a:moveTo>
                <a:lnTo>
                  <a:pt x="7696" y="1299"/>
                </a:lnTo>
                <a:cubicBezTo>
                  <a:pt x="8076" y="1489"/>
                  <a:pt x="8424" y="1742"/>
                  <a:pt x="8709" y="1995"/>
                </a:cubicBezTo>
                <a:cubicBezTo>
                  <a:pt x="8582" y="2122"/>
                  <a:pt x="8487" y="2217"/>
                  <a:pt x="8361" y="2312"/>
                </a:cubicBezTo>
                <a:cubicBezTo>
                  <a:pt x="8171" y="1932"/>
                  <a:pt x="7949" y="1584"/>
                  <a:pt x="7696" y="1299"/>
                </a:cubicBezTo>
                <a:close/>
                <a:moveTo>
                  <a:pt x="3199" y="1299"/>
                </a:moveTo>
                <a:cubicBezTo>
                  <a:pt x="2945" y="1584"/>
                  <a:pt x="2724" y="1932"/>
                  <a:pt x="2534" y="2344"/>
                </a:cubicBezTo>
                <a:cubicBezTo>
                  <a:pt x="2439" y="2249"/>
                  <a:pt x="2312" y="2122"/>
                  <a:pt x="2185" y="2027"/>
                </a:cubicBezTo>
                <a:cubicBezTo>
                  <a:pt x="2502" y="1742"/>
                  <a:pt x="2850" y="1489"/>
                  <a:pt x="3199" y="1299"/>
                </a:cubicBezTo>
                <a:close/>
                <a:moveTo>
                  <a:pt x="5289" y="729"/>
                </a:moveTo>
                <a:lnTo>
                  <a:pt x="5289" y="3231"/>
                </a:lnTo>
                <a:cubicBezTo>
                  <a:pt x="4180" y="3199"/>
                  <a:pt x="3484" y="2977"/>
                  <a:pt x="2850" y="2534"/>
                </a:cubicBezTo>
                <a:cubicBezTo>
                  <a:pt x="3167" y="1837"/>
                  <a:pt x="3610" y="1299"/>
                  <a:pt x="4117" y="919"/>
                </a:cubicBezTo>
                <a:cubicBezTo>
                  <a:pt x="4497" y="824"/>
                  <a:pt x="4877" y="760"/>
                  <a:pt x="5289" y="729"/>
                </a:cubicBezTo>
                <a:close/>
                <a:moveTo>
                  <a:pt x="5637" y="729"/>
                </a:moveTo>
                <a:cubicBezTo>
                  <a:pt x="6049" y="729"/>
                  <a:pt x="6429" y="792"/>
                  <a:pt x="6809" y="919"/>
                </a:cubicBezTo>
                <a:cubicBezTo>
                  <a:pt x="7316" y="1267"/>
                  <a:pt x="7759" y="1837"/>
                  <a:pt x="8076" y="2534"/>
                </a:cubicBezTo>
                <a:cubicBezTo>
                  <a:pt x="7442" y="2977"/>
                  <a:pt x="6746" y="3199"/>
                  <a:pt x="5637" y="3231"/>
                </a:cubicBezTo>
                <a:lnTo>
                  <a:pt x="5637" y="729"/>
                </a:lnTo>
                <a:close/>
                <a:moveTo>
                  <a:pt x="8234" y="2851"/>
                </a:moveTo>
                <a:cubicBezTo>
                  <a:pt x="8519" y="3579"/>
                  <a:pt x="8677" y="4402"/>
                  <a:pt x="8709" y="5289"/>
                </a:cubicBezTo>
                <a:lnTo>
                  <a:pt x="5637" y="5289"/>
                </a:lnTo>
                <a:lnTo>
                  <a:pt x="5637" y="3579"/>
                </a:lnTo>
                <a:cubicBezTo>
                  <a:pt x="6777" y="3547"/>
                  <a:pt x="7569" y="3326"/>
                  <a:pt x="8234" y="2851"/>
                </a:cubicBezTo>
                <a:close/>
                <a:moveTo>
                  <a:pt x="8962" y="2249"/>
                </a:moveTo>
                <a:cubicBezTo>
                  <a:pt x="9691" y="3072"/>
                  <a:pt x="10166" y="4117"/>
                  <a:pt x="10229" y="5289"/>
                </a:cubicBezTo>
                <a:lnTo>
                  <a:pt x="9057" y="5289"/>
                </a:lnTo>
                <a:cubicBezTo>
                  <a:pt x="9026" y="4339"/>
                  <a:pt x="8836" y="3421"/>
                  <a:pt x="8519" y="2660"/>
                </a:cubicBezTo>
                <a:cubicBezTo>
                  <a:pt x="8677" y="2534"/>
                  <a:pt x="8804" y="2407"/>
                  <a:pt x="8962" y="2249"/>
                </a:cubicBezTo>
                <a:close/>
                <a:moveTo>
                  <a:pt x="1964" y="2280"/>
                </a:moveTo>
                <a:cubicBezTo>
                  <a:pt x="2090" y="2407"/>
                  <a:pt x="2249" y="2534"/>
                  <a:pt x="2407" y="2660"/>
                </a:cubicBezTo>
                <a:cubicBezTo>
                  <a:pt x="2090" y="3452"/>
                  <a:pt x="1869" y="4339"/>
                  <a:pt x="1869" y="5321"/>
                </a:cubicBezTo>
                <a:lnTo>
                  <a:pt x="697" y="5321"/>
                </a:lnTo>
                <a:cubicBezTo>
                  <a:pt x="760" y="4149"/>
                  <a:pt x="1204" y="3104"/>
                  <a:pt x="1964" y="2280"/>
                </a:cubicBezTo>
                <a:close/>
                <a:moveTo>
                  <a:pt x="2692" y="2882"/>
                </a:moveTo>
                <a:cubicBezTo>
                  <a:pt x="3357" y="3326"/>
                  <a:pt x="4117" y="3547"/>
                  <a:pt x="5289" y="3579"/>
                </a:cubicBezTo>
                <a:lnTo>
                  <a:pt x="5289" y="5321"/>
                </a:lnTo>
                <a:lnTo>
                  <a:pt x="2217" y="5321"/>
                </a:lnTo>
                <a:cubicBezTo>
                  <a:pt x="2249" y="4434"/>
                  <a:pt x="2407" y="3579"/>
                  <a:pt x="2692" y="2882"/>
                </a:cubicBezTo>
                <a:close/>
                <a:moveTo>
                  <a:pt x="8709" y="5637"/>
                </a:moveTo>
                <a:cubicBezTo>
                  <a:pt x="8709" y="6556"/>
                  <a:pt x="8519" y="7379"/>
                  <a:pt x="8234" y="8076"/>
                </a:cubicBezTo>
                <a:cubicBezTo>
                  <a:pt x="7569" y="7633"/>
                  <a:pt x="6809" y="7411"/>
                  <a:pt x="5637" y="7379"/>
                </a:cubicBezTo>
                <a:lnTo>
                  <a:pt x="5637" y="5669"/>
                </a:lnTo>
                <a:lnTo>
                  <a:pt x="8709" y="5637"/>
                </a:lnTo>
                <a:close/>
                <a:moveTo>
                  <a:pt x="5289" y="5669"/>
                </a:moveTo>
                <a:lnTo>
                  <a:pt x="5289" y="7379"/>
                </a:lnTo>
                <a:cubicBezTo>
                  <a:pt x="4149" y="7411"/>
                  <a:pt x="3389" y="7664"/>
                  <a:pt x="2692" y="8108"/>
                </a:cubicBezTo>
                <a:cubicBezTo>
                  <a:pt x="2407" y="7379"/>
                  <a:pt x="2249" y="6556"/>
                  <a:pt x="2217" y="5669"/>
                </a:cubicBezTo>
                <a:close/>
                <a:moveTo>
                  <a:pt x="10229" y="5637"/>
                </a:moveTo>
                <a:cubicBezTo>
                  <a:pt x="10166" y="6809"/>
                  <a:pt x="9723" y="7886"/>
                  <a:pt x="8994" y="8678"/>
                </a:cubicBezTo>
                <a:cubicBezTo>
                  <a:pt x="8836" y="8551"/>
                  <a:pt x="8677" y="8424"/>
                  <a:pt x="8519" y="8298"/>
                </a:cubicBezTo>
                <a:cubicBezTo>
                  <a:pt x="8867" y="7538"/>
                  <a:pt x="9057" y="6619"/>
                  <a:pt x="9057" y="5637"/>
                </a:cubicBezTo>
                <a:close/>
                <a:moveTo>
                  <a:pt x="1869" y="5669"/>
                </a:moveTo>
                <a:cubicBezTo>
                  <a:pt x="1900" y="6651"/>
                  <a:pt x="2090" y="7538"/>
                  <a:pt x="2407" y="8329"/>
                </a:cubicBezTo>
                <a:cubicBezTo>
                  <a:pt x="2280" y="8424"/>
                  <a:pt x="2122" y="8551"/>
                  <a:pt x="1964" y="8709"/>
                </a:cubicBezTo>
                <a:cubicBezTo>
                  <a:pt x="1235" y="7886"/>
                  <a:pt x="760" y="6841"/>
                  <a:pt x="729" y="5669"/>
                </a:cubicBezTo>
                <a:close/>
                <a:moveTo>
                  <a:pt x="8392" y="8646"/>
                </a:moveTo>
                <a:cubicBezTo>
                  <a:pt x="8487" y="8741"/>
                  <a:pt x="8614" y="8836"/>
                  <a:pt x="8741" y="8931"/>
                </a:cubicBezTo>
                <a:cubicBezTo>
                  <a:pt x="8424" y="9216"/>
                  <a:pt x="8107" y="9469"/>
                  <a:pt x="7727" y="9659"/>
                </a:cubicBezTo>
                <a:cubicBezTo>
                  <a:pt x="7981" y="9374"/>
                  <a:pt x="8202" y="9026"/>
                  <a:pt x="8392" y="8646"/>
                </a:cubicBezTo>
                <a:close/>
                <a:moveTo>
                  <a:pt x="2565" y="8646"/>
                </a:moveTo>
                <a:cubicBezTo>
                  <a:pt x="2755" y="9026"/>
                  <a:pt x="2977" y="9374"/>
                  <a:pt x="3230" y="9691"/>
                </a:cubicBezTo>
                <a:cubicBezTo>
                  <a:pt x="2850" y="9469"/>
                  <a:pt x="2534" y="9248"/>
                  <a:pt x="2217" y="8963"/>
                </a:cubicBezTo>
                <a:cubicBezTo>
                  <a:pt x="2344" y="8836"/>
                  <a:pt x="2439" y="8741"/>
                  <a:pt x="2565" y="8646"/>
                </a:cubicBezTo>
                <a:close/>
                <a:moveTo>
                  <a:pt x="5289" y="7728"/>
                </a:moveTo>
                <a:lnTo>
                  <a:pt x="5289" y="10229"/>
                </a:lnTo>
                <a:cubicBezTo>
                  <a:pt x="4909" y="10229"/>
                  <a:pt x="4497" y="10166"/>
                  <a:pt x="4149" y="10039"/>
                </a:cubicBezTo>
                <a:cubicBezTo>
                  <a:pt x="3610" y="9691"/>
                  <a:pt x="3167" y="9121"/>
                  <a:pt x="2850" y="8424"/>
                </a:cubicBezTo>
                <a:cubicBezTo>
                  <a:pt x="3484" y="7981"/>
                  <a:pt x="4180" y="7759"/>
                  <a:pt x="5289" y="7728"/>
                </a:cubicBezTo>
                <a:close/>
                <a:moveTo>
                  <a:pt x="5637" y="7728"/>
                </a:moveTo>
                <a:cubicBezTo>
                  <a:pt x="6746" y="7759"/>
                  <a:pt x="7474" y="7981"/>
                  <a:pt x="8107" y="8424"/>
                </a:cubicBezTo>
                <a:cubicBezTo>
                  <a:pt x="7759" y="9121"/>
                  <a:pt x="7347" y="9691"/>
                  <a:pt x="6809" y="10039"/>
                </a:cubicBezTo>
                <a:cubicBezTo>
                  <a:pt x="6461" y="10134"/>
                  <a:pt x="6049" y="10229"/>
                  <a:pt x="5669" y="10229"/>
                </a:cubicBezTo>
                <a:lnTo>
                  <a:pt x="5637" y="7728"/>
                </a:lnTo>
                <a:close/>
                <a:moveTo>
                  <a:pt x="5447" y="0"/>
                </a:moveTo>
                <a:cubicBezTo>
                  <a:pt x="2439" y="32"/>
                  <a:pt x="0" y="2470"/>
                  <a:pt x="0" y="5511"/>
                </a:cubicBezTo>
                <a:cubicBezTo>
                  <a:pt x="0" y="8519"/>
                  <a:pt x="2470" y="10958"/>
                  <a:pt x="5479" y="10958"/>
                </a:cubicBezTo>
                <a:cubicBezTo>
                  <a:pt x="8487" y="10958"/>
                  <a:pt x="10958" y="8488"/>
                  <a:pt x="10926" y="5479"/>
                </a:cubicBezTo>
                <a:cubicBezTo>
                  <a:pt x="10926" y="2439"/>
                  <a:pt x="8456" y="0"/>
                  <a:pt x="544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19" name="Google Shape;1419;p38"/>
          <p:cNvSpPr/>
          <p:nvPr/>
        </p:nvSpPr>
        <p:spPr>
          <a:xfrm>
            <a:off x="5054315" y="1375246"/>
            <a:ext cx="445667" cy="346134"/>
          </a:xfrm>
          <a:custGeom>
            <a:avLst/>
            <a:gdLst/>
            <a:ahLst/>
            <a:cxnLst/>
            <a:rect l="l" t="t" r="r" b="b"/>
            <a:pathLst>
              <a:path w="12479" h="9692" extrusionOk="0">
                <a:moveTo>
                  <a:pt x="9280" y="1014"/>
                </a:moveTo>
                <a:cubicBezTo>
                  <a:pt x="9153" y="1014"/>
                  <a:pt x="9027" y="1046"/>
                  <a:pt x="8900" y="1077"/>
                </a:cubicBezTo>
                <a:cubicBezTo>
                  <a:pt x="8805" y="1109"/>
                  <a:pt x="8742" y="1204"/>
                  <a:pt x="8773" y="1299"/>
                </a:cubicBezTo>
                <a:cubicBezTo>
                  <a:pt x="8805" y="1394"/>
                  <a:pt x="8900" y="1426"/>
                  <a:pt x="8995" y="1426"/>
                </a:cubicBezTo>
                <a:cubicBezTo>
                  <a:pt x="9090" y="1394"/>
                  <a:pt x="9185" y="1394"/>
                  <a:pt x="9280" y="1394"/>
                </a:cubicBezTo>
                <a:cubicBezTo>
                  <a:pt x="9660" y="1394"/>
                  <a:pt x="10008" y="1552"/>
                  <a:pt x="10262" y="1901"/>
                </a:cubicBezTo>
                <a:cubicBezTo>
                  <a:pt x="10547" y="2249"/>
                  <a:pt x="10705" y="2724"/>
                  <a:pt x="10705" y="3231"/>
                </a:cubicBezTo>
                <a:cubicBezTo>
                  <a:pt x="10705" y="3959"/>
                  <a:pt x="10357" y="4624"/>
                  <a:pt x="9850" y="4909"/>
                </a:cubicBezTo>
                <a:lnTo>
                  <a:pt x="9755" y="4973"/>
                </a:lnTo>
                <a:lnTo>
                  <a:pt x="9755" y="5068"/>
                </a:lnTo>
                <a:cubicBezTo>
                  <a:pt x="9787" y="5923"/>
                  <a:pt x="10452" y="6208"/>
                  <a:pt x="11022" y="6493"/>
                </a:cubicBezTo>
                <a:cubicBezTo>
                  <a:pt x="11560" y="6778"/>
                  <a:pt x="12067" y="6999"/>
                  <a:pt x="12099" y="7633"/>
                </a:cubicBezTo>
                <a:cubicBezTo>
                  <a:pt x="11718" y="7823"/>
                  <a:pt x="11307" y="7981"/>
                  <a:pt x="10800" y="8076"/>
                </a:cubicBezTo>
                <a:cubicBezTo>
                  <a:pt x="10705" y="8108"/>
                  <a:pt x="10642" y="8203"/>
                  <a:pt x="10673" y="8298"/>
                </a:cubicBezTo>
                <a:cubicBezTo>
                  <a:pt x="10699" y="8376"/>
                  <a:pt x="10768" y="8433"/>
                  <a:pt x="10845" y="8433"/>
                </a:cubicBezTo>
                <a:cubicBezTo>
                  <a:pt x="10861" y="8433"/>
                  <a:pt x="10878" y="8430"/>
                  <a:pt x="10895" y="8424"/>
                </a:cubicBezTo>
                <a:cubicBezTo>
                  <a:pt x="11433" y="8298"/>
                  <a:pt x="11940" y="8139"/>
                  <a:pt x="12384" y="7918"/>
                </a:cubicBezTo>
                <a:lnTo>
                  <a:pt x="12479" y="7854"/>
                </a:lnTo>
                <a:lnTo>
                  <a:pt x="12479" y="7759"/>
                </a:lnTo>
                <a:cubicBezTo>
                  <a:pt x="12447" y="6809"/>
                  <a:pt x="11782" y="6493"/>
                  <a:pt x="11180" y="6176"/>
                </a:cubicBezTo>
                <a:cubicBezTo>
                  <a:pt x="10642" y="5923"/>
                  <a:pt x="10198" y="5701"/>
                  <a:pt x="10135" y="5163"/>
                </a:cubicBezTo>
                <a:cubicBezTo>
                  <a:pt x="10705" y="4783"/>
                  <a:pt x="11053" y="4022"/>
                  <a:pt x="11053" y="3231"/>
                </a:cubicBezTo>
                <a:cubicBezTo>
                  <a:pt x="11053" y="2629"/>
                  <a:pt x="10863" y="2091"/>
                  <a:pt x="10547" y="1679"/>
                </a:cubicBezTo>
                <a:cubicBezTo>
                  <a:pt x="10198" y="1267"/>
                  <a:pt x="9755" y="1014"/>
                  <a:pt x="9280" y="1014"/>
                </a:cubicBezTo>
                <a:close/>
                <a:moveTo>
                  <a:pt x="3168" y="1046"/>
                </a:moveTo>
                <a:cubicBezTo>
                  <a:pt x="2661" y="1046"/>
                  <a:pt x="2218" y="1267"/>
                  <a:pt x="1901" y="1711"/>
                </a:cubicBezTo>
                <a:cubicBezTo>
                  <a:pt x="1553" y="2122"/>
                  <a:pt x="1394" y="2661"/>
                  <a:pt x="1394" y="3262"/>
                </a:cubicBezTo>
                <a:cubicBezTo>
                  <a:pt x="1394" y="4054"/>
                  <a:pt x="1743" y="4783"/>
                  <a:pt x="2313" y="5163"/>
                </a:cubicBezTo>
                <a:cubicBezTo>
                  <a:pt x="2281" y="5733"/>
                  <a:pt x="1806" y="5954"/>
                  <a:pt x="1299" y="6208"/>
                </a:cubicBezTo>
                <a:cubicBezTo>
                  <a:pt x="698" y="6493"/>
                  <a:pt x="1" y="6841"/>
                  <a:pt x="1" y="7791"/>
                </a:cubicBezTo>
                <a:lnTo>
                  <a:pt x="1" y="7886"/>
                </a:lnTo>
                <a:lnTo>
                  <a:pt x="96" y="7949"/>
                </a:lnTo>
                <a:cubicBezTo>
                  <a:pt x="539" y="8171"/>
                  <a:pt x="1046" y="8329"/>
                  <a:pt x="1584" y="8456"/>
                </a:cubicBezTo>
                <a:cubicBezTo>
                  <a:pt x="1679" y="8456"/>
                  <a:pt x="1774" y="8393"/>
                  <a:pt x="1806" y="8298"/>
                </a:cubicBezTo>
                <a:cubicBezTo>
                  <a:pt x="1806" y="8203"/>
                  <a:pt x="1774" y="8139"/>
                  <a:pt x="1679" y="8108"/>
                </a:cubicBezTo>
                <a:cubicBezTo>
                  <a:pt x="1173" y="8013"/>
                  <a:pt x="761" y="7854"/>
                  <a:pt x="381" y="7664"/>
                </a:cubicBezTo>
                <a:cubicBezTo>
                  <a:pt x="413" y="7031"/>
                  <a:pt x="888" y="6809"/>
                  <a:pt x="1458" y="6524"/>
                </a:cubicBezTo>
                <a:cubicBezTo>
                  <a:pt x="2028" y="6239"/>
                  <a:pt x="2661" y="5923"/>
                  <a:pt x="2693" y="5099"/>
                </a:cubicBezTo>
                <a:lnTo>
                  <a:pt x="2693" y="4973"/>
                </a:lnTo>
                <a:lnTo>
                  <a:pt x="2598" y="4941"/>
                </a:lnTo>
                <a:cubicBezTo>
                  <a:pt x="2091" y="4624"/>
                  <a:pt x="1743" y="3991"/>
                  <a:pt x="1743" y="3231"/>
                </a:cubicBezTo>
                <a:cubicBezTo>
                  <a:pt x="1743" y="2756"/>
                  <a:pt x="1901" y="2281"/>
                  <a:pt x="2154" y="1932"/>
                </a:cubicBezTo>
                <a:cubicBezTo>
                  <a:pt x="2439" y="1584"/>
                  <a:pt x="2788" y="1394"/>
                  <a:pt x="3168" y="1394"/>
                </a:cubicBezTo>
                <a:cubicBezTo>
                  <a:pt x="3263" y="1394"/>
                  <a:pt x="3358" y="1426"/>
                  <a:pt x="3421" y="1426"/>
                </a:cubicBezTo>
                <a:cubicBezTo>
                  <a:pt x="3438" y="1431"/>
                  <a:pt x="3455" y="1434"/>
                  <a:pt x="3471" y="1434"/>
                </a:cubicBezTo>
                <a:cubicBezTo>
                  <a:pt x="3548" y="1434"/>
                  <a:pt x="3617" y="1377"/>
                  <a:pt x="3643" y="1299"/>
                </a:cubicBezTo>
                <a:cubicBezTo>
                  <a:pt x="3675" y="1204"/>
                  <a:pt x="3611" y="1109"/>
                  <a:pt x="3516" y="1077"/>
                </a:cubicBezTo>
                <a:cubicBezTo>
                  <a:pt x="3390" y="1046"/>
                  <a:pt x="3295" y="1046"/>
                  <a:pt x="3168" y="1046"/>
                </a:cubicBezTo>
                <a:close/>
                <a:moveTo>
                  <a:pt x="6240" y="697"/>
                </a:moveTo>
                <a:cubicBezTo>
                  <a:pt x="6651" y="697"/>
                  <a:pt x="7063" y="919"/>
                  <a:pt x="7380" y="1299"/>
                </a:cubicBezTo>
                <a:cubicBezTo>
                  <a:pt x="7697" y="1711"/>
                  <a:pt x="7887" y="2281"/>
                  <a:pt x="7887" y="2882"/>
                </a:cubicBezTo>
                <a:cubicBezTo>
                  <a:pt x="7887" y="3737"/>
                  <a:pt x="7506" y="4529"/>
                  <a:pt x="6905" y="4878"/>
                </a:cubicBezTo>
                <a:lnTo>
                  <a:pt x="6715" y="4973"/>
                </a:lnTo>
                <a:lnTo>
                  <a:pt x="6715" y="5194"/>
                </a:lnTo>
                <a:cubicBezTo>
                  <a:pt x="6746" y="6303"/>
                  <a:pt x="7633" y="6746"/>
                  <a:pt x="8330" y="7094"/>
                </a:cubicBezTo>
                <a:cubicBezTo>
                  <a:pt x="9058" y="7443"/>
                  <a:pt x="9533" y="7696"/>
                  <a:pt x="9628" y="8298"/>
                </a:cubicBezTo>
                <a:cubicBezTo>
                  <a:pt x="8583" y="8741"/>
                  <a:pt x="7348" y="8963"/>
                  <a:pt x="6271" y="8995"/>
                </a:cubicBezTo>
                <a:cubicBezTo>
                  <a:pt x="5353" y="8995"/>
                  <a:pt x="4055" y="8868"/>
                  <a:pt x="2914" y="8329"/>
                </a:cubicBezTo>
                <a:cubicBezTo>
                  <a:pt x="2978" y="7728"/>
                  <a:pt x="3453" y="7443"/>
                  <a:pt x="4181" y="7094"/>
                </a:cubicBezTo>
                <a:cubicBezTo>
                  <a:pt x="4878" y="6746"/>
                  <a:pt x="5765" y="6303"/>
                  <a:pt x="5796" y="5194"/>
                </a:cubicBezTo>
                <a:lnTo>
                  <a:pt x="5796" y="4973"/>
                </a:lnTo>
                <a:lnTo>
                  <a:pt x="5606" y="4878"/>
                </a:lnTo>
                <a:cubicBezTo>
                  <a:pt x="5005" y="4529"/>
                  <a:pt x="4625" y="3737"/>
                  <a:pt x="4625" y="2882"/>
                </a:cubicBezTo>
                <a:cubicBezTo>
                  <a:pt x="4593" y="1679"/>
                  <a:pt x="5353" y="697"/>
                  <a:pt x="6240" y="697"/>
                </a:cubicBezTo>
                <a:close/>
                <a:moveTo>
                  <a:pt x="6240" y="1"/>
                </a:moveTo>
                <a:cubicBezTo>
                  <a:pt x="4941" y="1"/>
                  <a:pt x="3896" y="1299"/>
                  <a:pt x="3896" y="2882"/>
                </a:cubicBezTo>
                <a:cubicBezTo>
                  <a:pt x="3896" y="3896"/>
                  <a:pt x="4340" y="4846"/>
                  <a:pt x="5068" y="5353"/>
                </a:cubicBezTo>
                <a:cubicBezTo>
                  <a:pt x="4973" y="5891"/>
                  <a:pt x="4530" y="6113"/>
                  <a:pt x="3865" y="6461"/>
                </a:cubicBezTo>
                <a:cubicBezTo>
                  <a:pt x="3104" y="6809"/>
                  <a:pt x="2186" y="7284"/>
                  <a:pt x="2186" y="8551"/>
                </a:cubicBezTo>
                <a:lnTo>
                  <a:pt x="2186" y="8741"/>
                </a:lnTo>
                <a:lnTo>
                  <a:pt x="2376" y="8868"/>
                </a:lnTo>
                <a:cubicBezTo>
                  <a:pt x="3706" y="9533"/>
                  <a:pt x="5226" y="9691"/>
                  <a:pt x="6271" y="9691"/>
                </a:cubicBezTo>
                <a:cubicBezTo>
                  <a:pt x="7538" y="9691"/>
                  <a:pt x="8963" y="9375"/>
                  <a:pt x="10135" y="8836"/>
                </a:cubicBezTo>
                <a:lnTo>
                  <a:pt x="10357" y="8741"/>
                </a:lnTo>
                <a:lnTo>
                  <a:pt x="10357" y="8519"/>
                </a:lnTo>
                <a:cubicBezTo>
                  <a:pt x="10357" y="7253"/>
                  <a:pt x="9407" y="6809"/>
                  <a:pt x="8647" y="6429"/>
                </a:cubicBezTo>
                <a:cubicBezTo>
                  <a:pt x="7982" y="6113"/>
                  <a:pt x="7538" y="5891"/>
                  <a:pt x="7443" y="5353"/>
                </a:cubicBezTo>
                <a:cubicBezTo>
                  <a:pt x="8140" y="4846"/>
                  <a:pt x="8583" y="3896"/>
                  <a:pt x="8583" y="2882"/>
                </a:cubicBezTo>
                <a:cubicBezTo>
                  <a:pt x="8583" y="2122"/>
                  <a:pt x="8362" y="1394"/>
                  <a:pt x="7918" y="856"/>
                </a:cubicBezTo>
                <a:cubicBezTo>
                  <a:pt x="7475" y="317"/>
                  <a:pt x="6873" y="1"/>
                  <a:pt x="624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20" name="Google Shape;1420;p38"/>
          <p:cNvSpPr/>
          <p:nvPr/>
        </p:nvSpPr>
        <p:spPr>
          <a:xfrm>
            <a:off x="8001735" y="2573823"/>
            <a:ext cx="341599" cy="449345"/>
          </a:xfrm>
          <a:custGeom>
            <a:avLst/>
            <a:gdLst/>
            <a:ahLst/>
            <a:cxnLst/>
            <a:rect l="l" t="t" r="r" b="b"/>
            <a:pathLst>
              <a:path w="9565" h="12582" extrusionOk="0">
                <a:moveTo>
                  <a:pt x="4783" y="800"/>
                </a:moveTo>
                <a:lnTo>
                  <a:pt x="8615" y="3999"/>
                </a:lnTo>
                <a:lnTo>
                  <a:pt x="4783" y="7229"/>
                </a:lnTo>
                <a:lnTo>
                  <a:pt x="951" y="4031"/>
                </a:lnTo>
                <a:lnTo>
                  <a:pt x="4783" y="800"/>
                </a:lnTo>
                <a:close/>
                <a:moveTo>
                  <a:pt x="4783" y="1"/>
                </a:moveTo>
                <a:cubicBezTo>
                  <a:pt x="4703" y="1"/>
                  <a:pt x="4624" y="24"/>
                  <a:pt x="4561" y="72"/>
                </a:cubicBezTo>
                <a:lnTo>
                  <a:pt x="4529" y="72"/>
                </a:lnTo>
                <a:lnTo>
                  <a:pt x="159" y="3745"/>
                </a:lnTo>
                <a:lnTo>
                  <a:pt x="159" y="3777"/>
                </a:lnTo>
                <a:lnTo>
                  <a:pt x="127" y="3809"/>
                </a:lnTo>
                <a:cubicBezTo>
                  <a:pt x="1" y="3936"/>
                  <a:pt x="32" y="4157"/>
                  <a:pt x="159" y="4284"/>
                </a:cubicBezTo>
                <a:lnTo>
                  <a:pt x="4561" y="7957"/>
                </a:lnTo>
                <a:cubicBezTo>
                  <a:pt x="4624" y="8005"/>
                  <a:pt x="4703" y="8029"/>
                  <a:pt x="4787" y="8029"/>
                </a:cubicBezTo>
                <a:cubicBezTo>
                  <a:pt x="4870" y="8029"/>
                  <a:pt x="4957" y="8005"/>
                  <a:pt x="5036" y="7957"/>
                </a:cubicBezTo>
                <a:lnTo>
                  <a:pt x="9406" y="4284"/>
                </a:lnTo>
                <a:lnTo>
                  <a:pt x="9406" y="4252"/>
                </a:lnTo>
                <a:cubicBezTo>
                  <a:pt x="9438" y="4252"/>
                  <a:pt x="9438" y="4252"/>
                  <a:pt x="9438" y="4221"/>
                </a:cubicBezTo>
                <a:cubicBezTo>
                  <a:pt x="9565" y="4094"/>
                  <a:pt x="9565" y="3840"/>
                  <a:pt x="9406" y="3714"/>
                </a:cubicBezTo>
                <a:lnTo>
                  <a:pt x="5004" y="72"/>
                </a:lnTo>
                <a:cubicBezTo>
                  <a:pt x="4941" y="24"/>
                  <a:pt x="4862" y="1"/>
                  <a:pt x="4783" y="1"/>
                </a:cubicBezTo>
                <a:close/>
                <a:moveTo>
                  <a:pt x="9185" y="5076"/>
                </a:moveTo>
                <a:cubicBezTo>
                  <a:pt x="8963" y="5076"/>
                  <a:pt x="8805" y="5234"/>
                  <a:pt x="8805" y="5456"/>
                </a:cubicBezTo>
                <a:lnTo>
                  <a:pt x="8836" y="8369"/>
                </a:lnTo>
                <a:lnTo>
                  <a:pt x="5163" y="11441"/>
                </a:lnTo>
                <a:lnTo>
                  <a:pt x="5163" y="8939"/>
                </a:lnTo>
                <a:cubicBezTo>
                  <a:pt x="5163" y="8749"/>
                  <a:pt x="4973" y="8591"/>
                  <a:pt x="4783" y="8591"/>
                </a:cubicBezTo>
                <a:cubicBezTo>
                  <a:pt x="4593" y="8591"/>
                  <a:pt x="4434" y="8749"/>
                  <a:pt x="4434" y="8939"/>
                </a:cubicBezTo>
                <a:lnTo>
                  <a:pt x="4434" y="11441"/>
                </a:lnTo>
                <a:lnTo>
                  <a:pt x="761" y="8401"/>
                </a:lnTo>
                <a:lnTo>
                  <a:pt x="761" y="5456"/>
                </a:lnTo>
                <a:cubicBezTo>
                  <a:pt x="761" y="5266"/>
                  <a:pt x="602" y="5107"/>
                  <a:pt x="381" y="5107"/>
                </a:cubicBezTo>
                <a:cubicBezTo>
                  <a:pt x="191" y="5107"/>
                  <a:pt x="32" y="5266"/>
                  <a:pt x="32" y="5456"/>
                </a:cubicBezTo>
                <a:lnTo>
                  <a:pt x="32" y="8559"/>
                </a:lnTo>
                <a:cubicBezTo>
                  <a:pt x="32" y="8591"/>
                  <a:pt x="64" y="8591"/>
                  <a:pt x="64" y="8623"/>
                </a:cubicBezTo>
                <a:cubicBezTo>
                  <a:pt x="64" y="8623"/>
                  <a:pt x="64" y="8623"/>
                  <a:pt x="64" y="8654"/>
                </a:cubicBezTo>
                <a:lnTo>
                  <a:pt x="64" y="8686"/>
                </a:lnTo>
                <a:cubicBezTo>
                  <a:pt x="64" y="8686"/>
                  <a:pt x="64" y="8686"/>
                  <a:pt x="96" y="8718"/>
                </a:cubicBezTo>
                <a:cubicBezTo>
                  <a:pt x="96" y="8718"/>
                  <a:pt x="96" y="8718"/>
                  <a:pt x="96" y="8749"/>
                </a:cubicBezTo>
                <a:cubicBezTo>
                  <a:pt x="96" y="8749"/>
                  <a:pt x="96" y="8749"/>
                  <a:pt x="127" y="8781"/>
                </a:cubicBezTo>
                <a:cubicBezTo>
                  <a:pt x="159" y="8813"/>
                  <a:pt x="159" y="8813"/>
                  <a:pt x="159" y="8813"/>
                </a:cubicBezTo>
                <a:lnTo>
                  <a:pt x="191" y="8844"/>
                </a:lnTo>
                <a:lnTo>
                  <a:pt x="4561" y="12486"/>
                </a:lnTo>
                <a:lnTo>
                  <a:pt x="4593" y="12486"/>
                </a:lnTo>
                <a:lnTo>
                  <a:pt x="4624" y="12518"/>
                </a:lnTo>
                <a:cubicBezTo>
                  <a:pt x="4656" y="12518"/>
                  <a:pt x="4656" y="12549"/>
                  <a:pt x="4688" y="12549"/>
                </a:cubicBezTo>
                <a:lnTo>
                  <a:pt x="4719" y="12549"/>
                </a:lnTo>
                <a:cubicBezTo>
                  <a:pt x="4719" y="12549"/>
                  <a:pt x="4719" y="12549"/>
                  <a:pt x="4719" y="12581"/>
                </a:cubicBezTo>
                <a:lnTo>
                  <a:pt x="4878" y="12581"/>
                </a:lnTo>
                <a:cubicBezTo>
                  <a:pt x="4878" y="12549"/>
                  <a:pt x="4909" y="12549"/>
                  <a:pt x="4909" y="12549"/>
                </a:cubicBezTo>
                <a:lnTo>
                  <a:pt x="4941" y="12549"/>
                </a:lnTo>
                <a:cubicBezTo>
                  <a:pt x="4941" y="12549"/>
                  <a:pt x="4973" y="12549"/>
                  <a:pt x="4973" y="12518"/>
                </a:cubicBezTo>
                <a:lnTo>
                  <a:pt x="5004" y="12518"/>
                </a:lnTo>
                <a:lnTo>
                  <a:pt x="5036" y="12486"/>
                </a:lnTo>
                <a:lnTo>
                  <a:pt x="9406" y="8813"/>
                </a:lnTo>
                <a:lnTo>
                  <a:pt x="9438" y="8813"/>
                </a:lnTo>
                <a:cubicBezTo>
                  <a:pt x="9438" y="8781"/>
                  <a:pt x="9438" y="8781"/>
                  <a:pt x="9438" y="8781"/>
                </a:cubicBezTo>
                <a:cubicBezTo>
                  <a:pt x="9470" y="8749"/>
                  <a:pt x="9470" y="8749"/>
                  <a:pt x="9470" y="8749"/>
                </a:cubicBezTo>
                <a:cubicBezTo>
                  <a:pt x="9470" y="8749"/>
                  <a:pt x="9470" y="8718"/>
                  <a:pt x="9501" y="8718"/>
                </a:cubicBezTo>
                <a:cubicBezTo>
                  <a:pt x="9501" y="8718"/>
                  <a:pt x="9501" y="8686"/>
                  <a:pt x="9501" y="8686"/>
                </a:cubicBezTo>
                <a:cubicBezTo>
                  <a:pt x="9501" y="8686"/>
                  <a:pt x="9501" y="8654"/>
                  <a:pt x="9533" y="8654"/>
                </a:cubicBezTo>
                <a:lnTo>
                  <a:pt x="9533" y="8623"/>
                </a:lnTo>
                <a:cubicBezTo>
                  <a:pt x="9533" y="8591"/>
                  <a:pt x="9533" y="8591"/>
                  <a:pt x="9533" y="8591"/>
                </a:cubicBezTo>
                <a:cubicBezTo>
                  <a:pt x="9533" y="8559"/>
                  <a:pt x="9533" y="8559"/>
                  <a:pt x="9533" y="8559"/>
                </a:cubicBezTo>
                <a:lnTo>
                  <a:pt x="9533" y="8527"/>
                </a:lnTo>
                <a:lnTo>
                  <a:pt x="9533" y="5424"/>
                </a:lnTo>
                <a:cubicBezTo>
                  <a:pt x="9533" y="5234"/>
                  <a:pt x="9375" y="5076"/>
                  <a:pt x="9185" y="507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21" name="Google Shape;1421;p38"/>
          <p:cNvSpPr/>
          <p:nvPr/>
        </p:nvSpPr>
        <p:spPr>
          <a:xfrm>
            <a:off x="3838489" y="4254779"/>
            <a:ext cx="371027" cy="372133"/>
          </a:xfrm>
          <a:custGeom>
            <a:avLst/>
            <a:gdLst/>
            <a:ahLst/>
            <a:cxnLst/>
            <a:rect l="l" t="t" r="r" b="b"/>
            <a:pathLst>
              <a:path w="10389" h="10420" extrusionOk="0">
                <a:moveTo>
                  <a:pt x="8646" y="1"/>
                </a:moveTo>
                <a:cubicBezTo>
                  <a:pt x="8171" y="1"/>
                  <a:pt x="7728" y="191"/>
                  <a:pt x="7411" y="507"/>
                </a:cubicBezTo>
                <a:lnTo>
                  <a:pt x="5733" y="2186"/>
                </a:lnTo>
                <a:cubicBezTo>
                  <a:pt x="5448" y="2471"/>
                  <a:pt x="5289" y="2819"/>
                  <a:pt x="5226" y="3231"/>
                </a:cubicBezTo>
                <a:cubicBezTo>
                  <a:pt x="5194" y="3421"/>
                  <a:pt x="5353" y="3579"/>
                  <a:pt x="5543" y="3611"/>
                </a:cubicBezTo>
                <a:cubicBezTo>
                  <a:pt x="5559" y="3614"/>
                  <a:pt x="5576" y="3615"/>
                  <a:pt x="5592" y="3615"/>
                </a:cubicBezTo>
                <a:cubicBezTo>
                  <a:pt x="5764" y="3615"/>
                  <a:pt x="5923" y="3468"/>
                  <a:pt x="5923" y="3294"/>
                </a:cubicBezTo>
                <a:cubicBezTo>
                  <a:pt x="5954" y="3072"/>
                  <a:pt x="6081" y="2851"/>
                  <a:pt x="6239" y="2692"/>
                </a:cubicBezTo>
                <a:lnTo>
                  <a:pt x="7918" y="1014"/>
                </a:lnTo>
                <a:cubicBezTo>
                  <a:pt x="8108" y="824"/>
                  <a:pt x="8361" y="697"/>
                  <a:pt x="8646" y="697"/>
                </a:cubicBezTo>
                <a:cubicBezTo>
                  <a:pt x="8900" y="697"/>
                  <a:pt x="9153" y="824"/>
                  <a:pt x="9375" y="1014"/>
                </a:cubicBezTo>
                <a:cubicBezTo>
                  <a:pt x="9565" y="1204"/>
                  <a:pt x="9660" y="1457"/>
                  <a:pt x="9660" y="1742"/>
                </a:cubicBezTo>
                <a:cubicBezTo>
                  <a:pt x="9660" y="2027"/>
                  <a:pt x="9565" y="2281"/>
                  <a:pt x="9375" y="2471"/>
                </a:cubicBezTo>
                <a:lnTo>
                  <a:pt x="7696" y="4149"/>
                </a:lnTo>
                <a:cubicBezTo>
                  <a:pt x="7538" y="4308"/>
                  <a:pt x="7316" y="4434"/>
                  <a:pt x="7095" y="4434"/>
                </a:cubicBezTo>
                <a:cubicBezTo>
                  <a:pt x="6905" y="4466"/>
                  <a:pt x="6746" y="4656"/>
                  <a:pt x="6778" y="4846"/>
                </a:cubicBezTo>
                <a:cubicBezTo>
                  <a:pt x="6810" y="5036"/>
                  <a:pt x="7000" y="5163"/>
                  <a:pt x="7190" y="5163"/>
                </a:cubicBezTo>
                <a:cubicBezTo>
                  <a:pt x="7570" y="5099"/>
                  <a:pt x="7918" y="4941"/>
                  <a:pt x="8203" y="4656"/>
                </a:cubicBezTo>
                <a:lnTo>
                  <a:pt x="9881" y="2977"/>
                </a:lnTo>
                <a:cubicBezTo>
                  <a:pt x="10198" y="2629"/>
                  <a:pt x="10388" y="2186"/>
                  <a:pt x="10388" y="1742"/>
                </a:cubicBezTo>
                <a:cubicBezTo>
                  <a:pt x="10388" y="1267"/>
                  <a:pt x="10198" y="824"/>
                  <a:pt x="9881" y="507"/>
                </a:cubicBezTo>
                <a:cubicBezTo>
                  <a:pt x="9533" y="159"/>
                  <a:pt x="9090" y="1"/>
                  <a:pt x="8646" y="1"/>
                </a:cubicBezTo>
                <a:close/>
                <a:moveTo>
                  <a:pt x="6734" y="3294"/>
                </a:moveTo>
                <a:cubicBezTo>
                  <a:pt x="6643" y="3294"/>
                  <a:pt x="6556" y="3326"/>
                  <a:pt x="6493" y="3389"/>
                </a:cubicBezTo>
                <a:lnTo>
                  <a:pt x="3389" y="6524"/>
                </a:lnTo>
                <a:cubicBezTo>
                  <a:pt x="3231" y="6651"/>
                  <a:pt x="3231" y="6873"/>
                  <a:pt x="3389" y="7031"/>
                </a:cubicBezTo>
                <a:cubicBezTo>
                  <a:pt x="3453" y="7094"/>
                  <a:pt x="3540" y="7126"/>
                  <a:pt x="3631" y="7126"/>
                </a:cubicBezTo>
                <a:cubicBezTo>
                  <a:pt x="3722" y="7126"/>
                  <a:pt x="3817" y="7094"/>
                  <a:pt x="3896" y="7031"/>
                </a:cubicBezTo>
                <a:lnTo>
                  <a:pt x="7000" y="3896"/>
                </a:lnTo>
                <a:cubicBezTo>
                  <a:pt x="7126" y="3769"/>
                  <a:pt x="7126" y="3547"/>
                  <a:pt x="7000" y="3389"/>
                </a:cubicBezTo>
                <a:cubicBezTo>
                  <a:pt x="6920" y="3326"/>
                  <a:pt x="6825" y="3294"/>
                  <a:pt x="6734" y="3294"/>
                </a:cubicBezTo>
                <a:close/>
                <a:moveTo>
                  <a:pt x="3248" y="5254"/>
                </a:moveTo>
                <a:cubicBezTo>
                  <a:pt x="3232" y="5254"/>
                  <a:pt x="3216" y="5255"/>
                  <a:pt x="3199" y="5258"/>
                </a:cubicBezTo>
                <a:cubicBezTo>
                  <a:pt x="2788" y="5321"/>
                  <a:pt x="2439" y="5479"/>
                  <a:pt x="2154" y="5764"/>
                </a:cubicBezTo>
                <a:lnTo>
                  <a:pt x="507" y="7443"/>
                </a:lnTo>
                <a:cubicBezTo>
                  <a:pt x="159" y="7759"/>
                  <a:pt x="1" y="8203"/>
                  <a:pt x="1" y="8678"/>
                </a:cubicBezTo>
                <a:cubicBezTo>
                  <a:pt x="1" y="9153"/>
                  <a:pt x="159" y="9565"/>
                  <a:pt x="507" y="9913"/>
                </a:cubicBezTo>
                <a:cubicBezTo>
                  <a:pt x="824" y="10230"/>
                  <a:pt x="1267" y="10420"/>
                  <a:pt x="1742" y="10420"/>
                </a:cubicBezTo>
                <a:cubicBezTo>
                  <a:pt x="2218" y="10420"/>
                  <a:pt x="2629" y="10230"/>
                  <a:pt x="2978" y="9913"/>
                </a:cubicBezTo>
                <a:lnTo>
                  <a:pt x="4656" y="8203"/>
                </a:lnTo>
                <a:cubicBezTo>
                  <a:pt x="4909" y="7949"/>
                  <a:pt x="5099" y="7569"/>
                  <a:pt x="5131" y="7189"/>
                </a:cubicBezTo>
                <a:cubicBezTo>
                  <a:pt x="5163" y="6999"/>
                  <a:pt x="5036" y="6809"/>
                  <a:pt x="4846" y="6809"/>
                </a:cubicBezTo>
                <a:cubicBezTo>
                  <a:pt x="4823" y="6806"/>
                  <a:pt x="4801" y="6805"/>
                  <a:pt x="4780" y="6805"/>
                </a:cubicBezTo>
                <a:cubicBezTo>
                  <a:pt x="4593" y="6805"/>
                  <a:pt x="4463" y="6927"/>
                  <a:pt x="4434" y="7126"/>
                </a:cubicBezTo>
                <a:cubicBezTo>
                  <a:pt x="4403" y="7348"/>
                  <a:pt x="4308" y="7538"/>
                  <a:pt x="4149" y="7728"/>
                </a:cubicBezTo>
                <a:lnTo>
                  <a:pt x="2471" y="9406"/>
                </a:lnTo>
                <a:cubicBezTo>
                  <a:pt x="2281" y="9596"/>
                  <a:pt x="2028" y="9691"/>
                  <a:pt x="1742" y="9691"/>
                </a:cubicBezTo>
                <a:cubicBezTo>
                  <a:pt x="1457" y="9691"/>
                  <a:pt x="1204" y="9596"/>
                  <a:pt x="1014" y="9406"/>
                </a:cubicBezTo>
                <a:cubicBezTo>
                  <a:pt x="824" y="9216"/>
                  <a:pt x="697" y="8963"/>
                  <a:pt x="697" y="8678"/>
                </a:cubicBezTo>
                <a:cubicBezTo>
                  <a:pt x="697" y="8393"/>
                  <a:pt x="824" y="8139"/>
                  <a:pt x="1014" y="7949"/>
                </a:cubicBezTo>
                <a:lnTo>
                  <a:pt x="2661" y="6271"/>
                </a:lnTo>
                <a:cubicBezTo>
                  <a:pt x="2851" y="6081"/>
                  <a:pt x="3041" y="5986"/>
                  <a:pt x="3294" y="5954"/>
                </a:cubicBezTo>
                <a:cubicBezTo>
                  <a:pt x="3484" y="5923"/>
                  <a:pt x="3611" y="5764"/>
                  <a:pt x="3579" y="5574"/>
                </a:cubicBezTo>
                <a:cubicBezTo>
                  <a:pt x="3579" y="5401"/>
                  <a:pt x="3421" y="5254"/>
                  <a:pt x="3248" y="525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22" name="Google Shape;1422;p38"/>
          <p:cNvSpPr/>
          <p:nvPr/>
        </p:nvSpPr>
        <p:spPr>
          <a:xfrm>
            <a:off x="5440020" y="2509644"/>
            <a:ext cx="2309545" cy="1097114"/>
          </a:xfrm>
          <a:custGeom>
            <a:avLst/>
            <a:gdLst/>
            <a:ahLst/>
            <a:cxnLst/>
            <a:rect l="l" t="t" r="r" b="b"/>
            <a:pathLst>
              <a:path w="64669" h="30720" extrusionOk="0">
                <a:moveTo>
                  <a:pt x="52507" y="0"/>
                </a:moveTo>
                <a:lnTo>
                  <a:pt x="52507" y="2566"/>
                </a:lnTo>
                <a:lnTo>
                  <a:pt x="20395" y="2661"/>
                </a:lnTo>
                <a:lnTo>
                  <a:pt x="18400" y="2661"/>
                </a:lnTo>
                <a:cubicBezTo>
                  <a:pt x="11369" y="2661"/>
                  <a:pt x="4972" y="5257"/>
                  <a:pt x="32" y="9533"/>
                </a:cubicBezTo>
                <a:lnTo>
                  <a:pt x="0" y="9564"/>
                </a:lnTo>
                <a:lnTo>
                  <a:pt x="63" y="30719"/>
                </a:lnTo>
                <a:cubicBezTo>
                  <a:pt x="32" y="20617"/>
                  <a:pt x="8234" y="12383"/>
                  <a:pt x="18336" y="12351"/>
                </a:cubicBezTo>
                <a:lnTo>
                  <a:pt x="39523" y="12288"/>
                </a:lnTo>
                <a:lnTo>
                  <a:pt x="52539" y="12256"/>
                </a:lnTo>
                <a:lnTo>
                  <a:pt x="52539" y="14821"/>
                </a:lnTo>
                <a:lnTo>
                  <a:pt x="64668" y="7379"/>
                </a:lnTo>
                <a:lnTo>
                  <a:pt x="52507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23" name="Google Shape;1423;p38"/>
          <p:cNvSpPr/>
          <p:nvPr/>
        </p:nvSpPr>
        <p:spPr>
          <a:xfrm>
            <a:off x="6096001" y="2948454"/>
            <a:ext cx="1095971" cy="2309546"/>
          </a:xfrm>
          <a:custGeom>
            <a:avLst/>
            <a:gdLst/>
            <a:ahLst/>
            <a:cxnLst/>
            <a:rect l="l" t="t" r="r" b="b"/>
            <a:pathLst>
              <a:path w="30688" h="64669" extrusionOk="0">
                <a:moveTo>
                  <a:pt x="5" y="64"/>
                </a:moveTo>
                <a:cubicBezTo>
                  <a:pt x="4" y="64"/>
                  <a:pt x="2" y="64"/>
                  <a:pt x="0" y="64"/>
                </a:cubicBezTo>
                <a:lnTo>
                  <a:pt x="5" y="64"/>
                </a:lnTo>
                <a:close/>
                <a:moveTo>
                  <a:pt x="21155" y="1"/>
                </a:moveTo>
                <a:lnTo>
                  <a:pt x="5" y="64"/>
                </a:lnTo>
                <a:lnTo>
                  <a:pt x="5" y="64"/>
                </a:lnTo>
                <a:cubicBezTo>
                  <a:pt x="23" y="64"/>
                  <a:pt x="41" y="64"/>
                  <a:pt x="58" y="64"/>
                </a:cubicBezTo>
                <a:cubicBezTo>
                  <a:pt x="10134" y="64"/>
                  <a:pt x="18337" y="8254"/>
                  <a:pt x="18368" y="18337"/>
                </a:cubicBezTo>
                <a:lnTo>
                  <a:pt x="18432" y="39524"/>
                </a:lnTo>
                <a:lnTo>
                  <a:pt x="18463" y="52540"/>
                </a:lnTo>
                <a:lnTo>
                  <a:pt x="15898" y="52540"/>
                </a:lnTo>
                <a:lnTo>
                  <a:pt x="23340" y="64669"/>
                </a:lnTo>
                <a:lnTo>
                  <a:pt x="30687" y="52508"/>
                </a:lnTo>
                <a:lnTo>
                  <a:pt x="28154" y="52508"/>
                </a:lnTo>
                <a:lnTo>
                  <a:pt x="28059" y="20396"/>
                </a:lnTo>
                <a:cubicBezTo>
                  <a:pt x="28059" y="20396"/>
                  <a:pt x="28027" y="18812"/>
                  <a:pt x="28027" y="18401"/>
                </a:cubicBezTo>
                <a:cubicBezTo>
                  <a:pt x="28027" y="17957"/>
                  <a:pt x="28027" y="17514"/>
                  <a:pt x="27996" y="17102"/>
                </a:cubicBezTo>
                <a:cubicBezTo>
                  <a:pt x="27996" y="16912"/>
                  <a:pt x="27996" y="16722"/>
                  <a:pt x="27964" y="16532"/>
                </a:cubicBezTo>
                <a:cubicBezTo>
                  <a:pt x="27964" y="16279"/>
                  <a:pt x="27932" y="16025"/>
                  <a:pt x="27932" y="15804"/>
                </a:cubicBezTo>
                <a:cubicBezTo>
                  <a:pt x="27901" y="15550"/>
                  <a:pt x="27869" y="15297"/>
                  <a:pt x="27837" y="15075"/>
                </a:cubicBezTo>
                <a:cubicBezTo>
                  <a:pt x="27806" y="14885"/>
                  <a:pt x="27806" y="14695"/>
                  <a:pt x="27774" y="14505"/>
                </a:cubicBezTo>
                <a:cubicBezTo>
                  <a:pt x="27742" y="14220"/>
                  <a:pt x="27679" y="13935"/>
                  <a:pt x="27647" y="13650"/>
                </a:cubicBezTo>
                <a:cubicBezTo>
                  <a:pt x="27616" y="13524"/>
                  <a:pt x="27584" y="13365"/>
                  <a:pt x="27584" y="13239"/>
                </a:cubicBezTo>
                <a:cubicBezTo>
                  <a:pt x="27521" y="12922"/>
                  <a:pt x="27426" y="12605"/>
                  <a:pt x="27362" y="12320"/>
                </a:cubicBezTo>
                <a:cubicBezTo>
                  <a:pt x="27362" y="12193"/>
                  <a:pt x="27331" y="12098"/>
                  <a:pt x="27299" y="12003"/>
                </a:cubicBezTo>
                <a:cubicBezTo>
                  <a:pt x="27236" y="11655"/>
                  <a:pt x="27141" y="11307"/>
                  <a:pt x="27046" y="10958"/>
                </a:cubicBezTo>
                <a:cubicBezTo>
                  <a:pt x="27014" y="10895"/>
                  <a:pt x="27014" y="10863"/>
                  <a:pt x="26982" y="10800"/>
                </a:cubicBezTo>
                <a:cubicBezTo>
                  <a:pt x="26887" y="10420"/>
                  <a:pt x="26792" y="10072"/>
                  <a:pt x="26665" y="9723"/>
                </a:cubicBezTo>
                <a:cubicBezTo>
                  <a:pt x="26665" y="9660"/>
                  <a:pt x="26634" y="9628"/>
                  <a:pt x="26634" y="9597"/>
                </a:cubicBezTo>
                <a:cubicBezTo>
                  <a:pt x="26507" y="9217"/>
                  <a:pt x="26380" y="8837"/>
                  <a:pt x="26222" y="8488"/>
                </a:cubicBezTo>
                <a:cubicBezTo>
                  <a:pt x="26222" y="8457"/>
                  <a:pt x="26222" y="8457"/>
                  <a:pt x="26222" y="8425"/>
                </a:cubicBezTo>
                <a:cubicBezTo>
                  <a:pt x="25019" y="5321"/>
                  <a:pt x="23309" y="2503"/>
                  <a:pt x="21187" y="33"/>
                </a:cubicBezTo>
                <a:lnTo>
                  <a:pt x="21155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24" name="Google Shape;1424;p38"/>
          <p:cNvSpPr/>
          <p:nvPr/>
        </p:nvSpPr>
        <p:spPr>
          <a:xfrm>
            <a:off x="4444725" y="3603330"/>
            <a:ext cx="2309545" cy="1097114"/>
          </a:xfrm>
          <a:custGeom>
            <a:avLst/>
            <a:gdLst/>
            <a:ahLst/>
            <a:cxnLst/>
            <a:rect l="l" t="t" r="r" b="b"/>
            <a:pathLst>
              <a:path w="64669" h="30720" extrusionOk="0">
                <a:moveTo>
                  <a:pt x="64605" y="0"/>
                </a:moveTo>
                <a:lnTo>
                  <a:pt x="64605" y="5"/>
                </a:lnTo>
                <a:lnTo>
                  <a:pt x="64605" y="5"/>
                </a:lnTo>
                <a:cubicBezTo>
                  <a:pt x="64605" y="4"/>
                  <a:pt x="64605" y="2"/>
                  <a:pt x="64605" y="0"/>
                </a:cubicBezTo>
                <a:close/>
                <a:moveTo>
                  <a:pt x="64605" y="5"/>
                </a:moveTo>
                <a:lnTo>
                  <a:pt x="64605" y="5"/>
                </a:lnTo>
                <a:cubicBezTo>
                  <a:pt x="64634" y="10137"/>
                  <a:pt x="56433" y="18368"/>
                  <a:pt x="46332" y="18400"/>
                </a:cubicBezTo>
                <a:lnTo>
                  <a:pt x="25146" y="18463"/>
                </a:lnTo>
                <a:lnTo>
                  <a:pt x="12130" y="18495"/>
                </a:lnTo>
                <a:lnTo>
                  <a:pt x="12130" y="15930"/>
                </a:lnTo>
                <a:lnTo>
                  <a:pt x="0" y="23372"/>
                </a:lnTo>
                <a:lnTo>
                  <a:pt x="12193" y="30719"/>
                </a:lnTo>
                <a:lnTo>
                  <a:pt x="12161" y="28154"/>
                </a:lnTo>
                <a:lnTo>
                  <a:pt x="44274" y="28059"/>
                </a:lnTo>
                <a:lnTo>
                  <a:pt x="46269" y="28059"/>
                </a:lnTo>
                <a:cubicBezTo>
                  <a:pt x="53299" y="28059"/>
                  <a:pt x="59728" y="25462"/>
                  <a:pt x="64637" y="21218"/>
                </a:cubicBezTo>
                <a:lnTo>
                  <a:pt x="64669" y="21187"/>
                </a:lnTo>
                <a:lnTo>
                  <a:pt x="64605" y="5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25" name="Google Shape;1425;p38"/>
          <p:cNvSpPr/>
          <p:nvPr/>
        </p:nvSpPr>
        <p:spPr>
          <a:xfrm>
            <a:off x="5002315" y="1953195"/>
            <a:ext cx="1097115" cy="2309546"/>
          </a:xfrm>
          <a:custGeom>
            <a:avLst/>
            <a:gdLst/>
            <a:ahLst/>
            <a:cxnLst/>
            <a:rect l="l" t="t" r="r" b="b"/>
            <a:pathLst>
              <a:path w="30720" h="64669" extrusionOk="0">
                <a:moveTo>
                  <a:pt x="30719" y="64605"/>
                </a:moveTo>
                <a:lnTo>
                  <a:pt x="30714" y="64605"/>
                </a:lnTo>
                <a:lnTo>
                  <a:pt x="30714" y="64605"/>
                </a:lnTo>
                <a:cubicBezTo>
                  <a:pt x="30716" y="64605"/>
                  <a:pt x="30717" y="64605"/>
                  <a:pt x="30719" y="64605"/>
                </a:cubicBezTo>
                <a:close/>
                <a:moveTo>
                  <a:pt x="7347" y="0"/>
                </a:moveTo>
                <a:lnTo>
                  <a:pt x="0" y="12161"/>
                </a:lnTo>
                <a:lnTo>
                  <a:pt x="2565" y="12161"/>
                </a:lnTo>
                <a:lnTo>
                  <a:pt x="2629" y="44242"/>
                </a:lnTo>
                <a:cubicBezTo>
                  <a:pt x="2629" y="44242"/>
                  <a:pt x="2660" y="45667"/>
                  <a:pt x="2660" y="46269"/>
                </a:cubicBezTo>
                <a:cubicBezTo>
                  <a:pt x="2660" y="53299"/>
                  <a:pt x="5257" y="59696"/>
                  <a:pt x="9533" y="64637"/>
                </a:cubicBezTo>
                <a:lnTo>
                  <a:pt x="9533" y="64668"/>
                </a:lnTo>
                <a:lnTo>
                  <a:pt x="30714" y="64605"/>
                </a:lnTo>
                <a:lnTo>
                  <a:pt x="30714" y="64605"/>
                </a:lnTo>
                <a:cubicBezTo>
                  <a:pt x="30696" y="64605"/>
                  <a:pt x="30678" y="64605"/>
                  <a:pt x="30661" y="64605"/>
                </a:cubicBezTo>
                <a:cubicBezTo>
                  <a:pt x="20553" y="64605"/>
                  <a:pt x="12351" y="56415"/>
                  <a:pt x="12319" y="46300"/>
                </a:cubicBezTo>
                <a:lnTo>
                  <a:pt x="12256" y="25145"/>
                </a:lnTo>
                <a:lnTo>
                  <a:pt x="12224" y="12130"/>
                </a:lnTo>
                <a:lnTo>
                  <a:pt x="14790" y="12130"/>
                </a:lnTo>
                <a:lnTo>
                  <a:pt x="7347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A8CCAEC-8FA4-47E7-8E56-F7B4FEF7BB0C}"/>
              </a:ext>
            </a:extLst>
          </p:cNvPr>
          <p:cNvSpPr txBox="1"/>
          <p:nvPr/>
        </p:nvSpPr>
        <p:spPr>
          <a:xfrm>
            <a:off x="2228662" y="1953196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1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4DD51FA-974C-40C6-A786-91900135646F}"/>
              </a:ext>
            </a:extLst>
          </p:cNvPr>
          <p:cNvSpPr txBox="1"/>
          <p:nvPr/>
        </p:nvSpPr>
        <p:spPr>
          <a:xfrm>
            <a:off x="1148547" y="3991522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1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92E281B-8B26-4CF3-834D-7D5B652075D7}"/>
              </a:ext>
            </a:extLst>
          </p:cNvPr>
          <p:cNvSpPr txBox="1"/>
          <p:nvPr/>
        </p:nvSpPr>
        <p:spPr>
          <a:xfrm>
            <a:off x="8766814" y="2350293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27836E3-D05B-4D4B-8529-B7753391F4BC}"/>
              </a:ext>
            </a:extLst>
          </p:cNvPr>
          <p:cNvSpPr txBox="1"/>
          <p:nvPr/>
        </p:nvSpPr>
        <p:spPr>
          <a:xfrm>
            <a:off x="7394762" y="5127301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19" name="Google Shape;1496;p40">
            <a:extLst>
              <a:ext uri="{FF2B5EF4-FFF2-40B4-BE49-F238E27FC236}">
                <a16:creationId xmlns:a16="http://schemas.microsoft.com/office/drawing/2014/main" id="{954FC7B0-D7C2-4451-8091-C40EEB9E792C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B42D245-7205-44F7-BFE2-688E5A3C1478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-1" y="3554574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8FDFDA-BEF5-4DEF-B80F-DA46ED605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215" y="6369819"/>
            <a:ext cx="364202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084F888-1588-4806-BB49-705D2F659B7D}"/>
              </a:ext>
            </a:extLst>
          </p:cNvPr>
          <p:cNvSpPr/>
          <p:nvPr/>
        </p:nvSpPr>
        <p:spPr>
          <a:xfrm>
            <a:off x="1166957" y="2754415"/>
            <a:ext cx="4112967" cy="3202087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CF7F638-788E-4F11-9698-1BE759841942}"/>
              </a:ext>
            </a:extLst>
          </p:cNvPr>
          <p:cNvGrpSpPr/>
          <p:nvPr/>
        </p:nvGrpSpPr>
        <p:grpSpPr>
          <a:xfrm>
            <a:off x="2656596" y="5354333"/>
            <a:ext cx="1133683" cy="1133683"/>
            <a:chOff x="2656596" y="5354331"/>
            <a:chExt cx="1133683" cy="113368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2FB6EB-28FE-4A23-8B4D-CEA05CB1D410}"/>
                </a:ext>
              </a:extLst>
            </p:cNvPr>
            <p:cNvGrpSpPr/>
            <p:nvPr/>
          </p:nvGrpSpPr>
          <p:grpSpPr>
            <a:xfrm>
              <a:off x="2656596" y="5354331"/>
              <a:ext cx="1133683" cy="1133683"/>
              <a:chOff x="2656596" y="5354331"/>
              <a:chExt cx="1133683" cy="1133683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A51E64DF-C3AF-47D6-91BD-96256DE0CC69}"/>
                  </a:ext>
                </a:extLst>
              </p:cNvPr>
              <p:cNvSpPr/>
              <p:nvPr/>
            </p:nvSpPr>
            <p:spPr>
              <a:xfrm>
                <a:off x="2656596" y="5354331"/>
                <a:ext cx="1133683" cy="113368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DC5A9E09-BB1B-4653-8522-95EF63DBD60F}"/>
                  </a:ext>
                </a:extLst>
              </p:cNvPr>
              <p:cNvSpPr/>
              <p:nvPr/>
            </p:nvSpPr>
            <p:spPr>
              <a:xfrm>
                <a:off x="2754280" y="5452015"/>
                <a:ext cx="938314" cy="938314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F263E3F9-B66F-4852-B03B-92C0CE0CB3E8}"/>
                </a:ext>
              </a:extLst>
            </p:cNvPr>
            <p:cNvGrpSpPr/>
            <p:nvPr/>
          </p:nvGrpSpPr>
          <p:grpSpPr>
            <a:xfrm>
              <a:off x="3047224" y="5740991"/>
              <a:ext cx="352426" cy="360363"/>
              <a:chOff x="5562600" y="4332288"/>
              <a:chExt cx="352426" cy="360363"/>
            </a:xfrm>
            <a:solidFill>
              <a:schemeClr val="accent1"/>
            </a:solidFill>
          </p:grpSpPr>
          <p:sp>
            <p:nvSpPr>
              <p:cNvPr id="45" name="Oval 127">
                <a:extLst>
                  <a:ext uri="{FF2B5EF4-FFF2-40B4-BE49-F238E27FC236}">
                    <a16:creationId xmlns:a16="http://schemas.microsoft.com/office/drawing/2014/main" id="{88D25CD4-1641-4123-9FB7-F8EB8137EF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2763" y="4332288"/>
                <a:ext cx="120650" cy="1206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6" name="Freeform 128">
                <a:extLst>
                  <a:ext uri="{FF2B5EF4-FFF2-40B4-BE49-F238E27FC236}">
                    <a16:creationId xmlns:a16="http://schemas.microsoft.com/office/drawing/2014/main" id="{F68A404C-BBEA-4963-8793-51CA34920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4467226"/>
                <a:ext cx="180975" cy="225425"/>
              </a:xfrm>
              <a:custGeom>
                <a:avLst/>
                <a:gdLst>
                  <a:gd name="T0" fmla="*/ 28 w 48"/>
                  <a:gd name="T1" fmla="*/ 0 h 60"/>
                  <a:gd name="T2" fmla="*/ 30 w 48"/>
                  <a:gd name="T3" fmla="*/ 27 h 60"/>
                  <a:gd name="T4" fmla="*/ 24 w 48"/>
                  <a:gd name="T5" fmla="*/ 33 h 60"/>
                  <a:gd name="T6" fmla="*/ 18 w 48"/>
                  <a:gd name="T7" fmla="*/ 27 h 60"/>
                  <a:gd name="T8" fmla="*/ 20 w 48"/>
                  <a:gd name="T9" fmla="*/ 0 h 60"/>
                  <a:gd name="T10" fmla="*/ 0 w 48"/>
                  <a:gd name="T11" fmla="*/ 0 h 60"/>
                  <a:gd name="T12" fmla="*/ 0 w 48"/>
                  <a:gd name="T13" fmla="*/ 2 h 60"/>
                  <a:gd name="T14" fmla="*/ 14 w 48"/>
                  <a:gd name="T15" fmla="*/ 33 h 60"/>
                  <a:gd name="T16" fmla="*/ 14 w 48"/>
                  <a:gd name="T17" fmla="*/ 60 h 60"/>
                  <a:gd name="T18" fmla="*/ 34 w 48"/>
                  <a:gd name="T19" fmla="*/ 60 h 60"/>
                  <a:gd name="T20" fmla="*/ 34 w 48"/>
                  <a:gd name="T21" fmla="*/ 33 h 60"/>
                  <a:gd name="T22" fmla="*/ 48 w 48"/>
                  <a:gd name="T23" fmla="*/ 2 h 60"/>
                  <a:gd name="T24" fmla="*/ 48 w 48"/>
                  <a:gd name="T25" fmla="*/ 0 h 60"/>
                  <a:gd name="T26" fmla="*/ 28 w 48"/>
                  <a:gd name="T2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60">
                    <a:moveTo>
                      <a:pt x="28" y="0"/>
                    </a:move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0"/>
                      <a:pt x="48" y="0"/>
                      <a:pt x="48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7" name="Freeform 129">
                <a:extLst>
                  <a:ext uri="{FF2B5EF4-FFF2-40B4-BE49-F238E27FC236}">
                    <a16:creationId xmlns:a16="http://schemas.microsoft.com/office/drawing/2014/main" id="{55B7A32C-0B99-437A-BA61-F47F8E102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7538" y="4346576"/>
                <a:ext cx="217488" cy="225425"/>
              </a:xfrm>
              <a:custGeom>
                <a:avLst/>
                <a:gdLst>
                  <a:gd name="T0" fmla="*/ 4 w 58"/>
                  <a:gd name="T1" fmla="*/ 0 h 60"/>
                  <a:gd name="T2" fmla="*/ 8 w 58"/>
                  <a:gd name="T3" fmla="*/ 12 h 60"/>
                  <a:gd name="T4" fmla="*/ 0 w 58"/>
                  <a:gd name="T5" fmla="*/ 28 h 60"/>
                  <a:gd name="T6" fmla="*/ 16 w 58"/>
                  <a:gd name="T7" fmla="*/ 28 h 60"/>
                  <a:gd name="T8" fmla="*/ 16 w 58"/>
                  <a:gd name="T9" fmla="*/ 34 h 60"/>
                  <a:gd name="T10" fmla="*/ 9 w 58"/>
                  <a:gd name="T11" fmla="*/ 60 h 60"/>
                  <a:gd name="T12" fmla="*/ 58 w 58"/>
                  <a:gd name="T13" fmla="*/ 60 h 60"/>
                  <a:gd name="T14" fmla="*/ 58 w 58"/>
                  <a:gd name="T15" fmla="*/ 0 h 60"/>
                  <a:gd name="T16" fmla="*/ 4 w 58"/>
                  <a:gd name="T17" fmla="*/ 0 h 60"/>
                  <a:gd name="T18" fmla="*/ 45 w 58"/>
                  <a:gd name="T19" fmla="*/ 44 h 60"/>
                  <a:gd name="T20" fmla="*/ 44 w 58"/>
                  <a:gd name="T21" fmla="*/ 44 h 60"/>
                  <a:gd name="T22" fmla="*/ 43 w 58"/>
                  <a:gd name="T23" fmla="*/ 43 h 60"/>
                  <a:gd name="T24" fmla="*/ 40 w 58"/>
                  <a:gd name="T25" fmla="*/ 36 h 60"/>
                  <a:gd name="T26" fmla="*/ 28 w 58"/>
                  <a:gd name="T27" fmla="*/ 36 h 60"/>
                  <a:gd name="T28" fmla="*/ 25 w 58"/>
                  <a:gd name="T29" fmla="*/ 43 h 60"/>
                  <a:gd name="T30" fmla="*/ 23 w 58"/>
                  <a:gd name="T31" fmla="*/ 44 h 60"/>
                  <a:gd name="T32" fmla="*/ 22 w 58"/>
                  <a:gd name="T33" fmla="*/ 41 h 60"/>
                  <a:gd name="T34" fmla="*/ 32 w 58"/>
                  <a:gd name="T35" fmla="*/ 14 h 60"/>
                  <a:gd name="T36" fmla="*/ 34 w 58"/>
                  <a:gd name="T37" fmla="*/ 12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4" y="0"/>
                    </a:move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8" y="60"/>
                      <a:pt x="58" y="60"/>
                      <a:pt x="58" y="6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4" y="0"/>
                    </a:lnTo>
                    <a:close/>
                    <a:moveTo>
                      <a:pt x="45" y="44"/>
                    </a:moveTo>
                    <a:cubicBezTo>
                      <a:pt x="45" y="44"/>
                      <a:pt x="45" y="44"/>
                      <a:pt x="44" y="44"/>
                    </a:cubicBez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3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2" y="13"/>
                      <a:pt x="33" y="12"/>
                      <a:pt x="34" y="12"/>
                    </a:cubicBezTo>
                    <a:cubicBezTo>
                      <a:pt x="35" y="12"/>
                      <a:pt x="36" y="13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8" name="Freeform 130">
                <a:extLst>
                  <a:ext uri="{FF2B5EF4-FFF2-40B4-BE49-F238E27FC236}">
                    <a16:creationId xmlns:a16="http://schemas.microsoft.com/office/drawing/2014/main" id="{715B3548-B629-4745-AAD1-2138584703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250" y="4422776"/>
                <a:ext cx="34925" cy="44450"/>
              </a:xfrm>
              <a:custGeom>
                <a:avLst/>
                <a:gdLst>
                  <a:gd name="T0" fmla="*/ 0 w 22"/>
                  <a:gd name="T1" fmla="*/ 28 h 28"/>
                  <a:gd name="T2" fmla="*/ 22 w 22"/>
                  <a:gd name="T3" fmla="*/ 28 h 28"/>
                  <a:gd name="T4" fmla="*/ 10 w 22"/>
                  <a:gd name="T5" fmla="*/ 0 h 28"/>
                  <a:gd name="T6" fmla="*/ 0 w 22"/>
                  <a:gd name="T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28">
                    <a:moveTo>
                      <a:pt x="0" y="28"/>
                    </a:moveTo>
                    <a:lnTo>
                      <a:pt x="22" y="28"/>
                    </a:lnTo>
                    <a:lnTo>
                      <a:pt x="10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78EA812E-DC9D-445F-BB4D-7CC5410CA8E3}"/>
              </a:ext>
            </a:extLst>
          </p:cNvPr>
          <p:cNvSpPr/>
          <p:nvPr/>
        </p:nvSpPr>
        <p:spPr>
          <a:xfrm>
            <a:off x="1547541" y="1585732"/>
            <a:ext cx="3232803" cy="3479624"/>
          </a:xfrm>
          <a:prstGeom prst="roundRect">
            <a:avLst/>
          </a:prstGeom>
          <a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Google Shape;1496;p40">
            <a:extLst>
              <a:ext uri="{FF2B5EF4-FFF2-40B4-BE49-F238E27FC236}">
                <a16:creationId xmlns:a16="http://schemas.microsoft.com/office/drawing/2014/main" id="{98305120-2AE7-4A2F-A587-A6D71E94D2AD}"/>
              </a:ext>
            </a:extLst>
          </p:cNvPr>
          <p:cNvSpPr txBox="1"/>
          <p:nvPr/>
        </p:nvSpPr>
        <p:spPr>
          <a:xfrm>
            <a:off x="6188597" y="1654818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0B5AEF8-34F9-4131-BA38-C9985278496E}"/>
              </a:ext>
            </a:extLst>
          </p:cNvPr>
          <p:cNvSpPr txBox="1"/>
          <p:nvPr/>
        </p:nvSpPr>
        <p:spPr>
          <a:xfrm>
            <a:off x="6444355" y="1756499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0" name="Group 40">
            <a:extLst>
              <a:ext uri="{FF2B5EF4-FFF2-40B4-BE49-F238E27FC236}">
                <a16:creationId xmlns:a16="http://schemas.microsoft.com/office/drawing/2014/main" id="{0BFE9529-43CA-4A8B-B8EE-1E75C2997AF7}"/>
              </a:ext>
            </a:extLst>
          </p:cNvPr>
          <p:cNvGrpSpPr/>
          <p:nvPr/>
        </p:nvGrpSpPr>
        <p:grpSpPr>
          <a:xfrm>
            <a:off x="6375704" y="4337105"/>
            <a:ext cx="866776" cy="866776"/>
            <a:chOff x="6468857" y="3301027"/>
            <a:chExt cx="866776" cy="866776"/>
          </a:xfrm>
        </p:grpSpPr>
        <p:grpSp>
          <p:nvGrpSpPr>
            <p:cNvPr id="22" name="Group 14">
              <a:extLst>
                <a:ext uri="{FF2B5EF4-FFF2-40B4-BE49-F238E27FC236}">
                  <a16:creationId xmlns:a16="http://schemas.microsoft.com/office/drawing/2014/main" id="{84CEDFD2-C790-48ED-91DC-4B02D253F23F}"/>
                </a:ext>
              </a:extLst>
            </p:cNvPr>
            <p:cNvGrpSpPr/>
            <p:nvPr/>
          </p:nvGrpSpPr>
          <p:grpSpPr>
            <a:xfrm>
              <a:off x="6468857" y="3301027"/>
              <a:ext cx="866776" cy="866776"/>
              <a:chOff x="6705600" y="1238250"/>
              <a:chExt cx="866776" cy="866776"/>
            </a:xfrm>
          </p:grpSpPr>
          <p:sp>
            <p:nvSpPr>
              <p:cNvPr id="28" name="Oval 16">
                <a:extLst>
                  <a:ext uri="{FF2B5EF4-FFF2-40B4-BE49-F238E27FC236}">
                    <a16:creationId xmlns:a16="http://schemas.microsoft.com/office/drawing/2014/main" id="{E04633A9-9701-4FBB-98B6-7FAA56F6D416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29" name="Oval 17">
                <a:extLst>
                  <a:ext uri="{FF2B5EF4-FFF2-40B4-BE49-F238E27FC236}">
                    <a16:creationId xmlns:a16="http://schemas.microsoft.com/office/drawing/2014/main" id="{F5A157D3-FC92-4463-9F9C-6576B3EC4F9D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Group 27">
              <a:extLst>
                <a:ext uri="{FF2B5EF4-FFF2-40B4-BE49-F238E27FC236}">
                  <a16:creationId xmlns:a16="http://schemas.microsoft.com/office/drawing/2014/main" id="{80CA6545-185F-4F4E-A258-065CC76F265F}"/>
                </a:ext>
              </a:extLst>
            </p:cNvPr>
            <p:cNvGrpSpPr/>
            <p:nvPr/>
          </p:nvGrpSpPr>
          <p:grpSpPr>
            <a:xfrm>
              <a:off x="6722064" y="3562171"/>
              <a:ext cx="360363" cy="344488"/>
              <a:chOff x="4833938" y="3983038"/>
              <a:chExt cx="360363" cy="344488"/>
            </a:xfrm>
            <a:solidFill>
              <a:schemeClr val="accent1"/>
            </a:solidFill>
          </p:grpSpPr>
          <p:sp>
            <p:nvSpPr>
              <p:cNvPr id="24" name="Freeform 76">
                <a:extLst>
                  <a:ext uri="{FF2B5EF4-FFF2-40B4-BE49-F238E27FC236}">
                    <a16:creationId xmlns:a16="http://schemas.microsoft.com/office/drawing/2014/main" id="{2D27310B-DD98-42C4-A7A5-2E2ED45A7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4179888"/>
                <a:ext cx="74613" cy="128588"/>
              </a:xfrm>
              <a:custGeom>
                <a:avLst/>
                <a:gdLst>
                  <a:gd name="T0" fmla="*/ 18 w 20"/>
                  <a:gd name="T1" fmla="*/ 0 h 34"/>
                  <a:gd name="T2" fmla="*/ 2 w 20"/>
                  <a:gd name="T3" fmla="*/ 0 h 34"/>
                  <a:gd name="T4" fmla="*/ 0 w 20"/>
                  <a:gd name="T5" fmla="*/ 2 h 34"/>
                  <a:gd name="T6" fmla="*/ 0 w 20"/>
                  <a:gd name="T7" fmla="*/ 32 h 34"/>
                  <a:gd name="T8" fmla="*/ 2 w 20"/>
                  <a:gd name="T9" fmla="*/ 34 h 34"/>
                  <a:gd name="T10" fmla="*/ 18 w 20"/>
                  <a:gd name="T11" fmla="*/ 34 h 34"/>
                  <a:gd name="T12" fmla="*/ 20 w 20"/>
                  <a:gd name="T13" fmla="*/ 32 h 34"/>
                  <a:gd name="T14" fmla="*/ 20 w 20"/>
                  <a:gd name="T15" fmla="*/ 2 h 34"/>
                  <a:gd name="T16" fmla="*/ 18 w 20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34">
                    <a:moveTo>
                      <a:pt x="18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9" y="34"/>
                      <a:pt x="20" y="33"/>
                      <a:pt x="20" y="3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1"/>
                      <a:pt x="19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25" name="Freeform 77">
                <a:extLst>
                  <a:ext uri="{FF2B5EF4-FFF2-40B4-BE49-F238E27FC236}">
                    <a16:creationId xmlns:a16="http://schemas.microsoft.com/office/drawing/2014/main" id="{06943754-43FE-41E4-893B-CFD9A08FB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488" y="4194176"/>
                <a:ext cx="277813" cy="133350"/>
              </a:xfrm>
              <a:custGeom>
                <a:avLst/>
                <a:gdLst>
                  <a:gd name="T0" fmla="*/ 73 w 74"/>
                  <a:gd name="T1" fmla="*/ 13 h 35"/>
                  <a:gd name="T2" fmla="*/ 59 w 74"/>
                  <a:gd name="T3" fmla="*/ 8 h 35"/>
                  <a:gd name="T4" fmla="*/ 47 w 74"/>
                  <a:gd name="T5" fmla="*/ 12 h 35"/>
                  <a:gd name="T6" fmla="*/ 47 w 74"/>
                  <a:gd name="T7" fmla="*/ 14 h 35"/>
                  <a:gd name="T8" fmla="*/ 45 w 74"/>
                  <a:gd name="T9" fmla="*/ 21 h 35"/>
                  <a:gd name="T10" fmla="*/ 38 w 74"/>
                  <a:gd name="T11" fmla="*/ 24 h 35"/>
                  <a:gd name="T12" fmla="*/ 18 w 74"/>
                  <a:gd name="T13" fmla="*/ 24 h 35"/>
                  <a:gd name="T14" fmla="*/ 16 w 74"/>
                  <a:gd name="T15" fmla="*/ 22 h 35"/>
                  <a:gd name="T16" fmla="*/ 18 w 74"/>
                  <a:gd name="T17" fmla="*/ 20 h 35"/>
                  <a:gd name="T18" fmla="*/ 38 w 74"/>
                  <a:gd name="T19" fmla="*/ 20 h 35"/>
                  <a:gd name="T20" fmla="*/ 42 w 74"/>
                  <a:gd name="T21" fmla="*/ 18 h 35"/>
                  <a:gd name="T22" fmla="*/ 43 w 74"/>
                  <a:gd name="T23" fmla="*/ 14 h 35"/>
                  <a:gd name="T24" fmla="*/ 38 w 74"/>
                  <a:gd name="T25" fmla="*/ 8 h 35"/>
                  <a:gd name="T26" fmla="*/ 27 w 74"/>
                  <a:gd name="T27" fmla="*/ 8 h 35"/>
                  <a:gd name="T28" fmla="*/ 26 w 74"/>
                  <a:gd name="T29" fmla="*/ 8 h 35"/>
                  <a:gd name="T30" fmla="*/ 25 w 74"/>
                  <a:gd name="T31" fmla="*/ 7 h 35"/>
                  <a:gd name="T32" fmla="*/ 8 w 74"/>
                  <a:gd name="T33" fmla="*/ 0 h 35"/>
                  <a:gd name="T34" fmla="*/ 2 w 74"/>
                  <a:gd name="T35" fmla="*/ 0 h 35"/>
                  <a:gd name="T36" fmla="*/ 0 w 74"/>
                  <a:gd name="T37" fmla="*/ 2 h 35"/>
                  <a:gd name="T38" fmla="*/ 0 w 74"/>
                  <a:gd name="T39" fmla="*/ 24 h 35"/>
                  <a:gd name="T40" fmla="*/ 1 w 74"/>
                  <a:gd name="T41" fmla="*/ 26 h 35"/>
                  <a:gd name="T42" fmla="*/ 16 w 74"/>
                  <a:gd name="T43" fmla="*/ 31 h 35"/>
                  <a:gd name="T44" fmla="*/ 32 w 74"/>
                  <a:gd name="T45" fmla="*/ 35 h 35"/>
                  <a:gd name="T46" fmla="*/ 49 w 74"/>
                  <a:gd name="T47" fmla="*/ 29 h 35"/>
                  <a:gd name="T48" fmla="*/ 73 w 74"/>
                  <a:gd name="T49" fmla="*/ 16 h 35"/>
                  <a:gd name="T50" fmla="*/ 74 w 74"/>
                  <a:gd name="T51" fmla="*/ 14 h 35"/>
                  <a:gd name="T52" fmla="*/ 73 w 74"/>
                  <a:gd name="T53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4" h="35">
                    <a:moveTo>
                      <a:pt x="73" y="13"/>
                    </a:moveTo>
                    <a:cubicBezTo>
                      <a:pt x="69" y="8"/>
                      <a:pt x="65" y="7"/>
                      <a:pt x="59" y="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3"/>
                      <a:pt x="47" y="13"/>
                      <a:pt x="47" y="14"/>
                    </a:cubicBezTo>
                    <a:cubicBezTo>
                      <a:pt x="47" y="17"/>
                      <a:pt x="47" y="19"/>
                      <a:pt x="45" y="21"/>
                    </a:cubicBezTo>
                    <a:cubicBezTo>
                      <a:pt x="43" y="23"/>
                      <a:pt x="41" y="24"/>
                      <a:pt x="38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4"/>
                      <a:pt x="16" y="23"/>
                      <a:pt x="16" y="22"/>
                    </a:cubicBezTo>
                    <a:cubicBezTo>
                      <a:pt x="16" y="21"/>
                      <a:pt x="17" y="20"/>
                      <a:pt x="18" y="2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40" y="20"/>
                      <a:pt x="41" y="19"/>
                      <a:pt x="42" y="18"/>
                    </a:cubicBezTo>
                    <a:cubicBezTo>
                      <a:pt x="43" y="17"/>
                      <a:pt x="43" y="16"/>
                      <a:pt x="43" y="14"/>
                    </a:cubicBezTo>
                    <a:cubicBezTo>
                      <a:pt x="43" y="12"/>
                      <a:pt x="42" y="8"/>
                      <a:pt x="38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5" y="8"/>
                      <a:pt x="25" y="8"/>
                      <a:pt x="25" y="7"/>
                    </a:cubicBezTo>
                    <a:cubicBezTo>
                      <a:pt x="23" y="6"/>
                      <a:pt x="17" y="0"/>
                      <a:pt x="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8" y="28"/>
                      <a:pt x="12" y="30"/>
                      <a:pt x="16" y="31"/>
                    </a:cubicBezTo>
                    <a:cubicBezTo>
                      <a:pt x="24" y="34"/>
                      <a:pt x="28" y="35"/>
                      <a:pt x="32" y="35"/>
                    </a:cubicBezTo>
                    <a:cubicBezTo>
                      <a:pt x="37" y="35"/>
                      <a:pt x="41" y="33"/>
                      <a:pt x="49" y="29"/>
                    </a:cubicBezTo>
                    <a:cubicBezTo>
                      <a:pt x="54" y="26"/>
                      <a:pt x="62" y="21"/>
                      <a:pt x="73" y="16"/>
                    </a:cubicBezTo>
                    <a:cubicBezTo>
                      <a:pt x="73" y="15"/>
                      <a:pt x="74" y="15"/>
                      <a:pt x="74" y="14"/>
                    </a:cubicBezTo>
                    <a:cubicBezTo>
                      <a:pt x="74" y="14"/>
                      <a:pt x="74" y="13"/>
                      <a:pt x="7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26" name="Freeform 78">
                <a:extLst>
                  <a:ext uri="{FF2B5EF4-FFF2-40B4-BE49-F238E27FC236}">
                    <a16:creationId xmlns:a16="http://schemas.microsoft.com/office/drawing/2014/main" id="{2ADE9F78-C8C4-48B4-8A17-1E7FA4ACD5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7138" y="3983038"/>
                <a:ext cx="104775" cy="106363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27" name="Freeform 79">
                <a:extLst>
                  <a:ext uri="{FF2B5EF4-FFF2-40B4-BE49-F238E27FC236}">
                    <a16:creationId xmlns:a16="http://schemas.microsoft.com/office/drawing/2014/main" id="{883827DA-7BE5-484D-A727-7438E0599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4089401"/>
                <a:ext cx="104775" cy="104775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1" name="Group 39">
            <a:extLst>
              <a:ext uri="{FF2B5EF4-FFF2-40B4-BE49-F238E27FC236}">
                <a16:creationId xmlns:a16="http://schemas.microsoft.com/office/drawing/2014/main" id="{9F41C0B4-DC6F-49C1-8123-339CA1B38B7B}"/>
              </a:ext>
            </a:extLst>
          </p:cNvPr>
          <p:cNvGrpSpPr/>
          <p:nvPr/>
        </p:nvGrpSpPr>
        <p:grpSpPr>
          <a:xfrm>
            <a:off x="6329660" y="2841559"/>
            <a:ext cx="866776" cy="866776"/>
            <a:chOff x="6468857" y="1655031"/>
            <a:chExt cx="866776" cy="866776"/>
          </a:xfrm>
        </p:grpSpPr>
        <p:grpSp>
          <p:nvGrpSpPr>
            <p:cNvPr id="33" name="Group 9">
              <a:extLst>
                <a:ext uri="{FF2B5EF4-FFF2-40B4-BE49-F238E27FC236}">
                  <a16:creationId xmlns:a16="http://schemas.microsoft.com/office/drawing/2014/main" id="{27497CB7-812D-447D-BB26-B71E3DC53BF8}"/>
                </a:ext>
              </a:extLst>
            </p:cNvPr>
            <p:cNvGrpSpPr/>
            <p:nvPr/>
          </p:nvGrpSpPr>
          <p:grpSpPr>
            <a:xfrm>
              <a:off x="6468857" y="1655031"/>
              <a:ext cx="866776" cy="866776"/>
              <a:chOff x="6705600" y="1238250"/>
              <a:chExt cx="866776" cy="866776"/>
            </a:xfrm>
          </p:grpSpPr>
          <p:sp>
            <p:nvSpPr>
              <p:cNvPr id="40" name="Oval 8">
                <a:extLst>
                  <a:ext uri="{FF2B5EF4-FFF2-40B4-BE49-F238E27FC236}">
                    <a16:creationId xmlns:a16="http://schemas.microsoft.com/office/drawing/2014/main" id="{2B339A47-5910-49B8-809D-6446D72AC9E1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1" name="Oval 7">
                <a:extLst>
                  <a:ext uri="{FF2B5EF4-FFF2-40B4-BE49-F238E27FC236}">
                    <a16:creationId xmlns:a16="http://schemas.microsoft.com/office/drawing/2014/main" id="{C23D6F04-29D0-4D76-8349-084399759361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34" name="Group 35">
              <a:extLst>
                <a:ext uri="{FF2B5EF4-FFF2-40B4-BE49-F238E27FC236}">
                  <a16:creationId xmlns:a16="http://schemas.microsoft.com/office/drawing/2014/main" id="{AC6A64A7-0C40-4B5D-9723-F9022414D60F}"/>
                </a:ext>
              </a:extLst>
            </p:cNvPr>
            <p:cNvGrpSpPr/>
            <p:nvPr/>
          </p:nvGrpSpPr>
          <p:grpSpPr>
            <a:xfrm>
              <a:off x="6722064" y="1908238"/>
              <a:ext cx="360363" cy="360363"/>
              <a:chOff x="3397251" y="1066800"/>
              <a:chExt cx="360363" cy="360363"/>
            </a:xfrm>
            <a:solidFill>
              <a:schemeClr val="accent1"/>
            </a:solidFill>
          </p:grpSpPr>
          <p:sp>
            <p:nvSpPr>
              <p:cNvPr id="35" name="Freeform 282">
                <a:extLst>
                  <a:ext uri="{FF2B5EF4-FFF2-40B4-BE49-F238E27FC236}">
                    <a16:creationId xmlns:a16="http://schemas.microsoft.com/office/drawing/2014/main" id="{76072C71-53BD-46AE-8243-BEBFF08D1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1" y="1187450"/>
                <a:ext cx="360363" cy="239713"/>
              </a:xfrm>
              <a:custGeom>
                <a:avLst/>
                <a:gdLst>
                  <a:gd name="T0" fmla="*/ 94 w 96"/>
                  <a:gd name="T1" fmla="*/ 40 h 64"/>
                  <a:gd name="T2" fmla="*/ 28 w 96"/>
                  <a:gd name="T3" fmla="*/ 40 h 64"/>
                  <a:gd name="T4" fmla="*/ 28 w 96"/>
                  <a:gd name="T5" fmla="*/ 26 h 64"/>
                  <a:gd name="T6" fmla="*/ 40 w 96"/>
                  <a:gd name="T7" fmla="*/ 2 h 64"/>
                  <a:gd name="T8" fmla="*/ 38 w 96"/>
                  <a:gd name="T9" fmla="*/ 0 h 64"/>
                  <a:gd name="T10" fmla="*/ 2 w 96"/>
                  <a:gd name="T11" fmla="*/ 0 h 64"/>
                  <a:gd name="T12" fmla="*/ 0 w 96"/>
                  <a:gd name="T13" fmla="*/ 2 h 64"/>
                  <a:gd name="T14" fmla="*/ 12 w 96"/>
                  <a:gd name="T15" fmla="*/ 26 h 64"/>
                  <a:gd name="T16" fmla="*/ 12 w 96"/>
                  <a:gd name="T17" fmla="*/ 40 h 64"/>
                  <a:gd name="T18" fmla="*/ 2 w 96"/>
                  <a:gd name="T19" fmla="*/ 40 h 64"/>
                  <a:gd name="T20" fmla="*/ 0 w 96"/>
                  <a:gd name="T21" fmla="*/ 42 h 64"/>
                  <a:gd name="T22" fmla="*/ 2 w 96"/>
                  <a:gd name="T23" fmla="*/ 44 h 64"/>
                  <a:gd name="T24" fmla="*/ 42 w 96"/>
                  <a:gd name="T25" fmla="*/ 44 h 64"/>
                  <a:gd name="T26" fmla="*/ 28 w 96"/>
                  <a:gd name="T27" fmla="*/ 61 h 64"/>
                  <a:gd name="T28" fmla="*/ 28 w 96"/>
                  <a:gd name="T29" fmla="*/ 63 h 64"/>
                  <a:gd name="T30" fmla="*/ 30 w 96"/>
                  <a:gd name="T31" fmla="*/ 64 h 64"/>
                  <a:gd name="T32" fmla="*/ 62 w 96"/>
                  <a:gd name="T33" fmla="*/ 64 h 64"/>
                  <a:gd name="T34" fmla="*/ 64 w 96"/>
                  <a:gd name="T35" fmla="*/ 63 h 64"/>
                  <a:gd name="T36" fmla="*/ 64 w 96"/>
                  <a:gd name="T37" fmla="*/ 61 h 64"/>
                  <a:gd name="T38" fmla="*/ 50 w 96"/>
                  <a:gd name="T39" fmla="*/ 44 h 64"/>
                  <a:gd name="T40" fmla="*/ 94 w 96"/>
                  <a:gd name="T41" fmla="*/ 44 h 64"/>
                  <a:gd name="T42" fmla="*/ 96 w 96"/>
                  <a:gd name="T43" fmla="*/ 42 h 64"/>
                  <a:gd name="T44" fmla="*/ 94 w 96"/>
                  <a:gd name="T45" fmla="*/ 4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" h="64">
                    <a:moveTo>
                      <a:pt x="94" y="40"/>
                    </a:move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36" y="22"/>
                      <a:pt x="40" y="11"/>
                      <a:pt x="40" y="2"/>
                    </a:cubicBezTo>
                    <a:cubicBezTo>
                      <a:pt x="40" y="1"/>
                      <a:pt x="39" y="0"/>
                      <a:pt x="3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1"/>
                      <a:pt x="4" y="22"/>
                      <a:pt x="12" y="26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41"/>
                      <a:pt x="0" y="42"/>
                    </a:cubicBezTo>
                    <a:cubicBezTo>
                      <a:pt x="0" y="43"/>
                      <a:pt x="1" y="44"/>
                      <a:pt x="2" y="44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61"/>
                      <a:pt x="28" y="62"/>
                      <a:pt x="28" y="63"/>
                    </a:cubicBezTo>
                    <a:cubicBezTo>
                      <a:pt x="29" y="64"/>
                      <a:pt x="29" y="64"/>
                      <a:pt x="30" y="64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3" y="64"/>
                      <a:pt x="63" y="64"/>
                      <a:pt x="64" y="63"/>
                    </a:cubicBezTo>
                    <a:cubicBezTo>
                      <a:pt x="64" y="62"/>
                      <a:pt x="64" y="61"/>
                      <a:pt x="64" y="61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4"/>
                      <a:pt x="96" y="43"/>
                      <a:pt x="96" y="42"/>
                    </a:cubicBezTo>
                    <a:cubicBezTo>
                      <a:pt x="96" y="41"/>
                      <a:pt x="95" y="40"/>
                      <a:pt x="94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6" name="Freeform 283">
                <a:extLst>
                  <a:ext uri="{FF2B5EF4-FFF2-40B4-BE49-F238E27FC236}">
                    <a16:creationId xmlns:a16="http://schemas.microsoft.com/office/drawing/2014/main" id="{2F1DB15D-3A0B-4259-9832-CFB3D70F80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2513" y="1141413"/>
                <a:ext cx="165100" cy="166688"/>
              </a:xfrm>
              <a:custGeom>
                <a:avLst/>
                <a:gdLst>
                  <a:gd name="T0" fmla="*/ 22 w 44"/>
                  <a:gd name="T1" fmla="*/ 44 h 44"/>
                  <a:gd name="T2" fmla="*/ 44 w 44"/>
                  <a:gd name="T3" fmla="*/ 22 h 44"/>
                  <a:gd name="T4" fmla="*/ 22 w 44"/>
                  <a:gd name="T5" fmla="*/ 0 h 44"/>
                  <a:gd name="T6" fmla="*/ 0 w 44"/>
                  <a:gd name="T7" fmla="*/ 22 h 44"/>
                  <a:gd name="T8" fmla="*/ 22 w 44"/>
                  <a:gd name="T9" fmla="*/ 44 h 44"/>
                  <a:gd name="T10" fmla="*/ 22 w 44"/>
                  <a:gd name="T11" fmla="*/ 24 h 44"/>
                  <a:gd name="T12" fmla="*/ 15 w 44"/>
                  <a:gd name="T13" fmla="*/ 17 h 44"/>
                  <a:gd name="T14" fmla="*/ 20 w 44"/>
                  <a:gd name="T15" fmla="*/ 11 h 44"/>
                  <a:gd name="T16" fmla="*/ 20 w 44"/>
                  <a:gd name="T17" fmla="*/ 10 h 44"/>
                  <a:gd name="T18" fmla="*/ 22 w 44"/>
                  <a:gd name="T19" fmla="*/ 8 h 44"/>
                  <a:gd name="T20" fmla="*/ 24 w 44"/>
                  <a:gd name="T21" fmla="*/ 10 h 44"/>
                  <a:gd name="T22" fmla="*/ 24 w 44"/>
                  <a:gd name="T23" fmla="*/ 11 h 44"/>
                  <a:gd name="T24" fmla="*/ 29 w 44"/>
                  <a:gd name="T25" fmla="*/ 17 h 44"/>
                  <a:gd name="T26" fmla="*/ 27 w 44"/>
                  <a:gd name="T27" fmla="*/ 19 h 44"/>
                  <a:gd name="T28" fmla="*/ 25 w 44"/>
                  <a:gd name="T29" fmla="*/ 17 h 44"/>
                  <a:gd name="T30" fmla="*/ 22 w 44"/>
                  <a:gd name="T31" fmla="*/ 15 h 44"/>
                  <a:gd name="T32" fmla="*/ 19 w 44"/>
                  <a:gd name="T33" fmla="*/ 17 h 44"/>
                  <a:gd name="T34" fmla="*/ 22 w 44"/>
                  <a:gd name="T35" fmla="*/ 20 h 44"/>
                  <a:gd name="T36" fmla="*/ 29 w 44"/>
                  <a:gd name="T37" fmla="*/ 27 h 44"/>
                  <a:gd name="T38" fmla="*/ 24 w 44"/>
                  <a:gd name="T39" fmla="*/ 33 h 44"/>
                  <a:gd name="T40" fmla="*/ 24 w 44"/>
                  <a:gd name="T41" fmla="*/ 34 h 44"/>
                  <a:gd name="T42" fmla="*/ 22 w 44"/>
                  <a:gd name="T43" fmla="*/ 36 h 44"/>
                  <a:gd name="T44" fmla="*/ 20 w 44"/>
                  <a:gd name="T45" fmla="*/ 34 h 44"/>
                  <a:gd name="T46" fmla="*/ 20 w 44"/>
                  <a:gd name="T47" fmla="*/ 33 h 44"/>
                  <a:gd name="T48" fmla="*/ 15 w 44"/>
                  <a:gd name="T49" fmla="*/ 27 h 44"/>
                  <a:gd name="T50" fmla="*/ 17 w 44"/>
                  <a:gd name="T51" fmla="*/ 25 h 44"/>
                  <a:gd name="T52" fmla="*/ 19 w 44"/>
                  <a:gd name="T53" fmla="*/ 27 h 44"/>
                  <a:gd name="T54" fmla="*/ 22 w 44"/>
                  <a:gd name="T55" fmla="*/ 29 h 44"/>
                  <a:gd name="T56" fmla="*/ 25 w 44"/>
                  <a:gd name="T57" fmla="*/ 27 h 44"/>
                  <a:gd name="T58" fmla="*/ 22 w 44"/>
                  <a:gd name="T5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4" h="44">
                    <a:moveTo>
                      <a:pt x="22" y="44"/>
                    </a:move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34"/>
                      <a:pt x="10" y="44"/>
                      <a:pt x="22" y="44"/>
                    </a:cubicBezTo>
                    <a:close/>
                    <a:moveTo>
                      <a:pt x="22" y="24"/>
                    </a:moveTo>
                    <a:cubicBezTo>
                      <a:pt x="18" y="24"/>
                      <a:pt x="15" y="21"/>
                      <a:pt x="15" y="17"/>
                    </a:cubicBezTo>
                    <a:cubicBezTo>
                      <a:pt x="15" y="14"/>
                      <a:pt x="17" y="12"/>
                      <a:pt x="20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9"/>
                      <a:pt x="21" y="8"/>
                      <a:pt x="22" y="8"/>
                    </a:cubicBezTo>
                    <a:cubicBezTo>
                      <a:pt x="23" y="8"/>
                      <a:pt x="24" y="9"/>
                      <a:pt x="24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7" y="12"/>
                      <a:pt x="29" y="14"/>
                      <a:pt x="29" y="17"/>
                    </a:cubicBezTo>
                    <a:cubicBezTo>
                      <a:pt x="29" y="18"/>
                      <a:pt x="28" y="19"/>
                      <a:pt x="27" y="19"/>
                    </a:cubicBezTo>
                    <a:cubicBezTo>
                      <a:pt x="26" y="19"/>
                      <a:pt x="25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21" y="15"/>
                      <a:pt x="19" y="16"/>
                      <a:pt x="19" y="17"/>
                    </a:cubicBezTo>
                    <a:cubicBezTo>
                      <a:pt x="19" y="19"/>
                      <a:pt x="21" y="20"/>
                      <a:pt x="22" y="20"/>
                    </a:cubicBezTo>
                    <a:cubicBezTo>
                      <a:pt x="26" y="20"/>
                      <a:pt x="29" y="23"/>
                      <a:pt x="29" y="27"/>
                    </a:cubicBezTo>
                    <a:cubicBezTo>
                      <a:pt x="29" y="30"/>
                      <a:pt x="27" y="32"/>
                      <a:pt x="24" y="3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3" y="36"/>
                      <a:pt x="22" y="36"/>
                    </a:cubicBezTo>
                    <a:cubicBezTo>
                      <a:pt x="21" y="36"/>
                      <a:pt x="20" y="35"/>
                      <a:pt x="20" y="3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17" y="32"/>
                      <a:pt x="15" y="30"/>
                      <a:pt x="15" y="27"/>
                    </a:cubicBezTo>
                    <a:cubicBezTo>
                      <a:pt x="15" y="26"/>
                      <a:pt x="16" y="25"/>
                      <a:pt x="17" y="25"/>
                    </a:cubicBezTo>
                    <a:cubicBezTo>
                      <a:pt x="18" y="25"/>
                      <a:pt x="19" y="26"/>
                      <a:pt x="19" y="27"/>
                    </a:cubicBezTo>
                    <a:cubicBezTo>
                      <a:pt x="19" y="28"/>
                      <a:pt x="21" y="29"/>
                      <a:pt x="22" y="29"/>
                    </a:cubicBezTo>
                    <a:cubicBezTo>
                      <a:pt x="23" y="29"/>
                      <a:pt x="25" y="28"/>
                      <a:pt x="25" y="27"/>
                    </a:cubicBezTo>
                    <a:cubicBezTo>
                      <a:pt x="25" y="25"/>
                      <a:pt x="23" y="24"/>
                      <a:pt x="2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8" name="Oval 284">
                <a:extLst>
                  <a:ext uri="{FF2B5EF4-FFF2-40B4-BE49-F238E27FC236}">
                    <a16:creationId xmlns:a16="http://schemas.microsoft.com/office/drawing/2014/main" id="{0EDD4F03-DEC7-4597-8A6A-7E6E03DAF8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476" y="1066800"/>
                <a:ext cx="106363" cy="1047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sp>
        <p:nvSpPr>
          <p:cNvPr id="4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B16BC69-74D0-4C13-94F1-82469401E5E9}"/>
              </a:ext>
            </a:extLst>
          </p:cNvPr>
          <p:cNvSpPr txBox="1"/>
          <p:nvPr/>
        </p:nvSpPr>
        <p:spPr>
          <a:xfrm>
            <a:off x="7454404" y="2876754"/>
            <a:ext cx="328660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, Synergistically utilize technically sound, </a:t>
            </a:r>
          </a:p>
        </p:txBody>
      </p:sp>
      <p:sp>
        <p:nvSpPr>
          <p:cNvPr id="4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7CBD492-C908-47DC-9D3D-B314AE243406}"/>
              </a:ext>
            </a:extLst>
          </p:cNvPr>
          <p:cNvSpPr txBox="1"/>
          <p:nvPr/>
        </p:nvSpPr>
        <p:spPr>
          <a:xfrm>
            <a:off x="7482985" y="4255292"/>
            <a:ext cx="328660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, Synergistically utilize technically sound, </a:t>
            </a:r>
          </a:p>
        </p:txBody>
      </p:sp>
    </p:spTree>
    <p:extLst>
      <p:ext uri="{BB962C8B-B14F-4D97-AF65-F5344CB8AC3E}">
        <p14:creationId xmlns:p14="http://schemas.microsoft.com/office/powerpoint/2010/main" val="204972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97" name="Google Shape;2097;p51"/>
          <p:cNvCxnSpPr/>
          <p:nvPr/>
        </p:nvCxnSpPr>
        <p:spPr>
          <a:xfrm>
            <a:off x="5498800" y="1896734"/>
            <a:ext cx="11944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098" name="Google Shape;2098;p51"/>
          <p:cNvCxnSpPr/>
          <p:nvPr/>
        </p:nvCxnSpPr>
        <p:spPr>
          <a:xfrm>
            <a:off x="5498800" y="5471567"/>
            <a:ext cx="11944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</p:spPr>
      </p:cxnSp>
      <p:cxnSp>
        <p:nvCxnSpPr>
          <p:cNvPr id="2099" name="Google Shape;2099;p51"/>
          <p:cNvCxnSpPr/>
          <p:nvPr/>
        </p:nvCxnSpPr>
        <p:spPr>
          <a:xfrm rot="5400000">
            <a:off x="7132900" y="3684151"/>
            <a:ext cx="11944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2100" name="Google Shape;2100;p51"/>
          <p:cNvCxnSpPr/>
          <p:nvPr/>
        </p:nvCxnSpPr>
        <p:spPr>
          <a:xfrm rot="5400000">
            <a:off x="3884367" y="3684151"/>
            <a:ext cx="1194400" cy="0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</p:spPr>
      </p:cxnSp>
      <p:sp>
        <p:nvSpPr>
          <p:cNvPr id="2102" name="Google Shape;2102;p51"/>
          <p:cNvSpPr/>
          <p:nvPr/>
        </p:nvSpPr>
        <p:spPr>
          <a:xfrm>
            <a:off x="6551663" y="1894897"/>
            <a:ext cx="1173679" cy="679818"/>
          </a:xfrm>
          <a:custGeom>
            <a:avLst/>
            <a:gdLst/>
            <a:ahLst/>
            <a:cxnLst/>
            <a:rect l="l" t="t" r="r" b="b"/>
            <a:pathLst>
              <a:path w="108741" h="62985" extrusionOk="0">
                <a:moveTo>
                  <a:pt x="54198" y="0"/>
                </a:moveTo>
                <a:lnTo>
                  <a:pt x="1" y="31492"/>
                </a:lnTo>
                <a:lnTo>
                  <a:pt x="54543" y="62984"/>
                </a:lnTo>
                <a:lnTo>
                  <a:pt x="108741" y="31492"/>
                </a:lnTo>
                <a:lnTo>
                  <a:pt x="54198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03" name="Google Shape;2103;p51"/>
          <p:cNvSpPr/>
          <p:nvPr/>
        </p:nvSpPr>
        <p:spPr>
          <a:xfrm>
            <a:off x="6744173" y="2210766"/>
            <a:ext cx="144328" cy="76169"/>
          </a:xfrm>
          <a:custGeom>
            <a:avLst/>
            <a:gdLst/>
            <a:ahLst/>
            <a:cxnLst/>
            <a:rect l="l" t="t" r="r" b="b"/>
            <a:pathLst>
              <a:path w="13372" h="7057" extrusionOk="0">
                <a:moveTo>
                  <a:pt x="6659" y="1"/>
                </a:moveTo>
                <a:cubicBezTo>
                  <a:pt x="5099" y="1"/>
                  <a:pt x="3543" y="346"/>
                  <a:pt x="2358" y="1037"/>
                </a:cubicBezTo>
                <a:cubicBezTo>
                  <a:pt x="0" y="2406"/>
                  <a:pt x="0" y="4644"/>
                  <a:pt x="2394" y="6025"/>
                </a:cubicBezTo>
                <a:cubicBezTo>
                  <a:pt x="3582" y="6714"/>
                  <a:pt x="5137" y="7057"/>
                  <a:pt x="6692" y="7057"/>
                </a:cubicBezTo>
                <a:cubicBezTo>
                  <a:pt x="8254" y="7057"/>
                  <a:pt x="9815" y="6711"/>
                  <a:pt x="11002" y="6025"/>
                </a:cubicBezTo>
                <a:cubicBezTo>
                  <a:pt x="13371" y="4644"/>
                  <a:pt x="13359" y="2406"/>
                  <a:pt x="10978" y="1037"/>
                </a:cubicBezTo>
                <a:cubicBezTo>
                  <a:pt x="9781" y="346"/>
                  <a:pt x="8219" y="1"/>
                  <a:pt x="665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04" name="Google Shape;2104;p51"/>
          <p:cNvSpPr/>
          <p:nvPr/>
        </p:nvSpPr>
        <p:spPr>
          <a:xfrm>
            <a:off x="7388514" y="2182628"/>
            <a:ext cx="144447" cy="76115"/>
          </a:xfrm>
          <a:custGeom>
            <a:avLst/>
            <a:gdLst/>
            <a:ahLst/>
            <a:cxnLst/>
            <a:rect l="l" t="t" r="r" b="b"/>
            <a:pathLst>
              <a:path w="13383" h="7052" extrusionOk="0">
                <a:moveTo>
                  <a:pt x="6669" y="0"/>
                </a:moveTo>
                <a:cubicBezTo>
                  <a:pt x="5111" y="0"/>
                  <a:pt x="3554" y="346"/>
                  <a:pt x="2370" y="1036"/>
                </a:cubicBezTo>
                <a:cubicBezTo>
                  <a:pt x="0" y="2417"/>
                  <a:pt x="12" y="4644"/>
                  <a:pt x="2406" y="6025"/>
                </a:cubicBezTo>
                <a:cubicBezTo>
                  <a:pt x="3596" y="6709"/>
                  <a:pt x="5153" y="7052"/>
                  <a:pt x="6710" y="7052"/>
                </a:cubicBezTo>
                <a:cubicBezTo>
                  <a:pt x="8266" y="7052"/>
                  <a:pt x="9823" y="6709"/>
                  <a:pt x="11014" y="6025"/>
                </a:cubicBezTo>
                <a:cubicBezTo>
                  <a:pt x="13383" y="4644"/>
                  <a:pt x="13371" y="2417"/>
                  <a:pt x="10978" y="1036"/>
                </a:cubicBezTo>
                <a:cubicBezTo>
                  <a:pt x="9787" y="346"/>
                  <a:pt x="8228" y="0"/>
                  <a:pt x="666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05" name="Google Shape;2105;p51"/>
          <p:cNvSpPr/>
          <p:nvPr/>
        </p:nvSpPr>
        <p:spPr>
          <a:xfrm>
            <a:off x="7138432" y="2234801"/>
            <a:ext cx="586909" cy="1022668"/>
          </a:xfrm>
          <a:custGeom>
            <a:avLst/>
            <a:gdLst/>
            <a:ahLst/>
            <a:cxnLst/>
            <a:rect l="l" t="t" r="r" b="b"/>
            <a:pathLst>
              <a:path w="54377" h="94750" extrusionOk="0">
                <a:moveTo>
                  <a:pt x="54377" y="0"/>
                </a:moveTo>
                <a:lnTo>
                  <a:pt x="179" y="31492"/>
                </a:lnTo>
                <a:lnTo>
                  <a:pt x="1" y="94750"/>
                </a:lnTo>
                <a:lnTo>
                  <a:pt x="54198" y="63246"/>
                </a:lnTo>
                <a:lnTo>
                  <a:pt x="54377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06" name="Google Shape;2106;p51"/>
          <p:cNvSpPr/>
          <p:nvPr/>
        </p:nvSpPr>
        <p:spPr>
          <a:xfrm>
            <a:off x="7533512" y="2799594"/>
            <a:ext cx="92747" cy="119946"/>
          </a:xfrm>
          <a:custGeom>
            <a:avLst/>
            <a:gdLst/>
            <a:ahLst/>
            <a:cxnLst/>
            <a:rect l="l" t="t" r="r" b="b"/>
            <a:pathLst>
              <a:path w="8593" h="11113" extrusionOk="0">
                <a:moveTo>
                  <a:pt x="6237" y="1"/>
                </a:moveTo>
                <a:cubicBezTo>
                  <a:pt x="5658" y="1"/>
                  <a:pt x="5003" y="192"/>
                  <a:pt x="4307" y="595"/>
                </a:cubicBezTo>
                <a:cubicBezTo>
                  <a:pt x="1937" y="1976"/>
                  <a:pt x="21" y="5310"/>
                  <a:pt x="9" y="8049"/>
                </a:cubicBezTo>
                <a:cubicBezTo>
                  <a:pt x="0" y="9991"/>
                  <a:pt x="962" y="11112"/>
                  <a:pt x="2367" y="11112"/>
                </a:cubicBezTo>
                <a:cubicBezTo>
                  <a:pt x="2943" y="11112"/>
                  <a:pt x="3594" y="10923"/>
                  <a:pt x="4283" y="10525"/>
                </a:cubicBezTo>
                <a:cubicBezTo>
                  <a:pt x="6652" y="9144"/>
                  <a:pt x="8581" y="5810"/>
                  <a:pt x="8593" y="3060"/>
                </a:cubicBezTo>
                <a:cubicBezTo>
                  <a:pt x="8593" y="1122"/>
                  <a:pt x="7639" y="1"/>
                  <a:pt x="6237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07" name="Google Shape;2107;p51"/>
          <p:cNvSpPr/>
          <p:nvPr/>
        </p:nvSpPr>
        <p:spPr>
          <a:xfrm>
            <a:off x="7534667" y="2400068"/>
            <a:ext cx="92715" cy="119936"/>
          </a:xfrm>
          <a:custGeom>
            <a:avLst/>
            <a:gdLst/>
            <a:ahLst/>
            <a:cxnLst/>
            <a:rect l="l" t="t" r="r" b="b"/>
            <a:pathLst>
              <a:path w="8590" h="11112" extrusionOk="0">
                <a:moveTo>
                  <a:pt x="6231" y="0"/>
                </a:moveTo>
                <a:cubicBezTo>
                  <a:pt x="5653" y="0"/>
                  <a:pt x="4999" y="191"/>
                  <a:pt x="4307" y="595"/>
                </a:cubicBezTo>
                <a:cubicBezTo>
                  <a:pt x="1938" y="1964"/>
                  <a:pt x="9" y="5310"/>
                  <a:pt x="9" y="8048"/>
                </a:cubicBezTo>
                <a:cubicBezTo>
                  <a:pt x="0" y="9990"/>
                  <a:pt x="962" y="11112"/>
                  <a:pt x="2367" y="11112"/>
                </a:cubicBezTo>
                <a:cubicBezTo>
                  <a:pt x="2943" y="11112"/>
                  <a:pt x="3594" y="10923"/>
                  <a:pt x="4283" y="10525"/>
                </a:cubicBezTo>
                <a:cubicBezTo>
                  <a:pt x="6652" y="9144"/>
                  <a:pt x="8581" y="5798"/>
                  <a:pt x="8581" y="3059"/>
                </a:cubicBezTo>
                <a:cubicBezTo>
                  <a:pt x="8590" y="1121"/>
                  <a:pt x="7632" y="0"/>
                  <a:pt x="623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08" name="Google Shape;2108;p51"/>
          <p:cNvSpPr/>
          <p:nvPr/>
        </p:nvSpPr>
        <p:spPr>
          <a:xfrm>
            <a:off x="7236522" y="2972192"/>
            <a:ext cx="92727" cy="119957"/>
          </a:xfrm>
          <a:custGeom>
            <a:avLst/>
            <a:gdLst/>
            <a:ahLst/>
            <a:cxnLst/>
            <a:rect l="l" t="t" r="r" b="b"/>
            <a:pathLst>
              <a:path w="8591" h="11114" extrusionOk="0">
                <a:moveTo>
                  <a:pt x="6230" y="0"/>
                </a:moveTo>
                <a:cubicBezTo>
                  <a:pt x="5652" y="0"/>
                  <a:pt x="4999" y="191"/>
                  <a:pt x="4307" y="594"/>
                </a:cubicBezTo>
                <a:cubicBezTo>
                  <a:pt x="1938" y="1976"/>
                  <a:pt x="9" y="5309"/>
                  <a:pt x="9" y="8060"/>
                </a:cubicBezTo>
                <a:cubicBezTo>
                  <a:pt x="1" y="9998"/>
                  <a:pt x="959" y="11114"/>
                  <a:pt x="2356" y="11114"/>
                </a:cubicBezTo>
                <a:cubicBezTo>
                  <a:pt x="2933" y="11114"/>
                  <a:pt x="3583" y="10924"/>
                  <a:pt x="4272" y="10524"/>
                </a:cubicBezTo>
                <a:cubicBezTo>
                  <a:pt x="6653" y="9143"/>
                  <a:pt x="8582" y="5809"/>
                  <a:pt x="8582" y="3071"/>
                </a:cubicBezTo>
                <a:cubicBezTo>
                  <a:pt x="8590" y="1124"/>
                  <a:pt x="7632" y="0"/>
                  <a:pt x="62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09" name="Google Shape;2109;p51"/>
          <p:cNvSpPr/>
          <p:nvPr/>
        </p:nvSpPr>
        <p:spPr>
          <a:xfrm>
            <a:off x="7237645" y="2572654"/>
            <a:ext cx="92759" cy="119936"/>
          </a:xfrm>
          <a:custGeom>
            <a:avLst/>
            <a:gdLst/>
            <a:ahLst/>
            <a:cxnLst/>
            <a:rect l="l" t="t" r="r" b="b"/>
            <a:pathLst>
              <a:path w="8594" h="11112" extrusionOk="0">
                <a:moveTo>
                  <a:pt x="6235" y="0"/>
                </a:moveTo>
                <a:cubicBezTo>
                  <a:pt x="5657" y="0"/>
                  <a:pt x="5003" y="191"/>
                  <a:pt x="4311" y="595"/>
                </a:cubicBezTo>
                <a:cubicBezTo>
                  <a:pt x="1941" y="1964"/>
                  <a:pt x="12" y="5310"/>
                  <a:pt x="0" y="8048"/>
                </a:cubicBezTo>
                <a:cubicBezTo>
                  <a:pt x="0" y="9990"/>
                  <a:pt x="958" y="11112"/>
                  <a:pt x="2361" y="11112"/>
                </a:cubicBezTo>
                <a:cubicBezTo>
                  <a:pt x="2936" y="11112"/>
                  <a:pt x="3586" y="10923"/>
                  <a:pt x="4275" y="10525"/>
                </a:cubicBezTo>
                <a:cubicBezTo>
                  <a:pt x="6656" y="9144"/>
                  <a:pt x="8573" y="5798"/>
                  <a:pt x="8585" y="3060"/>
                </a:cubicBezTo>
                <a:cubicBezTo>
                  <a:pt x="8593" y="1121"/>
                  <a:pt x="7636" y="0"/>
                  <a:pt x="623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0" name="Google Shape;2110;p51"/>
          <p:cNvSpPr/>
          <p:nvPr/>
        </p:nvSpPr>
        <p:spPr>
          <a:xfrm>
            <a:off x="6549744" y="2234801"/>
            <a:ext cx="590633" cy="1022668"/>
          </a:xfrm>
          <a:custGeom>
            <a:avLst/>
            <a:gdLst/>
            <a:ahLst/>
            <a:cxnLst/>
            <a:rect l="l" t="t" r="r" b="b"/>
            <a:pathLst>
              <a:path w="54722" h="94750" extrusionOk="0">
                <a:moveTo>
                  <a:pt x="179" y="0"/>
                </a:moveTo>
                <a:lnTo>
                  <a:pt x="0" y="63246"/>
                </a:lnTo>
                <a:lnTo>
                  <a:pt x="54543" y="94750"/>
                </a:lnTo>
                <a:lnTo>
                  <a:pt x="54721" y="31492"/>
                </a:lnTo>
                <a:lnTo>
                  <a:pt x="179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11" name="Google Shape;2111;p51"/>
          <p:cNvSpPr/>
          <p:nvPr/>
        </p:nvSpPr>
        <p:spPr>
          <a:xfrm>
            <a:off x="6947347" y="2972192"/>
            <a:ext cx="93308" cy="119957"/>
          </a:xfrm>
          <a:custGeom>
            <a:avLst/>
            <a:gdLst/>
            <a:ahLst/>
            <a:cxnLst/>
            <a:rect l="l" t="t" r="r" b="b"/>
            <a:pathLst>
              <a:path w="8645" h="11114" extrusionOk="0">
                <a:moveTo>
                  <a:pt x="2398" y="0"/>
                </a:moveTo>
                <a:cubicBezTo>
                  <a:pt x="984" y="0"/>
                  <a:pt x="9" y="1124"/>
                  <a:pt x="0" y="3071"/>
                </a:cubicBezTo>
                <a:cubicBezTo>
                  <a:pt x="0" y="5809"/>
                  <a:pt x="1917" y="9143"/>
                  <a:pt x="4310" y="10524"/>
                </a:cubicBezTo>
                <a:cubicBezTo>
                  <a:pt x="5006" y="10924"/>
                  <a:pt x="5663" y="11114"/>
                  <a:pt x="6246" y="11114"/>
                </a:cubicBezTo>
                <a:cubicBezTo>
                  <a:pt x="7660" y="11114"/>
                  <a:pt x="8636" y="9998"/>
                  <a:pt x="8644" y="8060"/>
                </a:cubicBezTo>
                <a:cubicBezTo>
                  <a:pt x="8644" y="5309"/>
                  <a:pt x="6727" y="1976"/>
                  <a:pt x="4334" y="594"/>
                </a:cubicBezTo>
                <a:cubicBezTo>
                  <a:pt x="3639" y="191"/>
                  <a:pt x="2981" y="0"/>
                  <a:pt x="239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2" name="Google Shape;2112;p51"/>
          <p:cNvSpPr/>
          <p:nvPr/>
        </p:nvSpPr>
        <p:spPr>
          <a:xfrm>
            <a:off x="6948373" y="2572654"/>
            <a:ext cx="93439" cy="119936"/>
          </a:xfrm>
          <a:custGeom>
            <a:avLst/>
            <a:gdLst/>
            <a:ahLst/>
            <a:cxnLst/>
            <a:rect l="l" t="t" r="r" b="b"/>
            <a:pathLst>
              <a:path w="8657" h="11112" extrusionOk="0">
                <a:moveTo>
                  <a:pt x="2409" y="0"/>
                </a:moveTo>
                <a:cubicBezTo>
                  <a:pt x="996" y="0"/>
                  <a:pt x="21" y="1121"/>
                  <a:pt x="12" y="3060"/>
                </a:cubicBezTo>
                <a:cubicBezTo>
                  <a:pt x="1" y="5798"/>
                  <a:pt x="1929" y="9144"/>
                  <a:pt x="4311" y="10525"/>
                </a:cubicBezTo>
                <a:cubicBezTo>
                  <a:pt x="5007" y="10923"/>
                  <a:pt x="5665" y="11112"/>
                  <a:pt x="6247" y="11112"/>
                </a:cubicBezTo>
                <a:cubicBezTo>
                  <a:pt x="7669" y="11112"/>
                  <a:pt x="8644" y="9990"/>
                  <a:pt x="8644" y="8048"/>
                </a:cubicBezTo>
                <a:cubicBezTo>
                  <a:pt x="8656" y="5310"/>
                  <a:pt x="6728" y="1964"/>
                  <a:pt x="4346" y="595"/>
                </a:cubicBezTo>
                <a:cubicBezTo>
                  <a:pt x="3650" y="191"/>
                  <a:pt x="2992" y="0"/>
                  <a:pt x="240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3" name="Google Shape;2113;p51"/>
          <p:cNvSpPr/>
          <p:nvPr/>
        </p:nvSpPr>
        <p:spPr>
          <a:xfrm>
            <a:off x="6798399" y="2686124"/>
            <a:ext cx="93308" cy="119914"/>
          </a:xfrm>
          <a:custGeom>
            <a:avLst/>
            <a:gdLst/>
            <a:ahLst/>
            <a:cxnLst/>
            <a:rect l="l" t="t" r="r" b="b"/>
            <a:pathLst>
              <a:path w="8645" h="11110" extrusionOk="0">
                <a:moveTo>
                  <a:pt x="2397" y="0"/>
                </a:moveTo>
                <a:cubicBezTo>
                  <a:pt x="984" y="0"/>
                  <a:pt x="9" y="1122"/>
                  <a:pt x="1" y="3060"/>
                </a:cubicBezTo>
                <a:cubicBezTo>
                  <a:pt x="1" y="5810"/>
                  <a:pt x="1930" y="9144"/>
                  <a:pt x="4311" y="10513"/>
                </a:cubicBezTo>
                <a:cubicBezTo>
                  <a:pt x="5009" y="10918"/>
                  <a:pt x="5669" y="11110"/>
                  <a:pt x="6254" y="11110"/>
                </a:cubicBezTo>
                <a:cubicBezTo>
                  <a:pt x="7664" y="11110"/>
                  <a:pt x="8636" y="9993"/>
                  <a:pt x="8645" y="8048"/>
                </a:cubicBezTo>
                <a:cubicBezTo>
                  <a:pt x="8645" y="5310"/>
                  <a:pt x="6728" y="1976"/>
                  <a:pt x="4335" y="595"/>
                </a:cubicBezTo>
                <a:cubicBezTo>
                  <a:pt x="3639" y="192"/>
                  <a:pt x="2981" y="0"/>
                  <a:pt x="239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4" name="Google Shape;2114;p51"/>
          <p:cNvSpPr/>
          <p:nvPr/>
        </p:nvSpPr>
        <p:spPr>
          <a:xfrm>
            <a:off x="6648307" y="2799594"/>
            <a:ext cx="93439" cy="119892"/>
          </a:xfrm>
          <a:custGeom>
            <a:avLst/>
            <a:gdLst/>
            <a:ahLst/>
            <a:cxnLst/>
            <a:rect l="l" t="t" r="r" b="b"/>
            <a:pathLst>
              <a:path w="8657" h="11108" extrusionOk="0">
                <a:moveTo>
                  <a:pt x="2398" y="1"/>
                </a:moveTo>
                <a:cubicBezTo>
                  <a:pt x="985" y="1"/>
                  <a:pt x="12" y="1125"/>
                  <a:pt x="12" y="3072"/>
                </a:cubicBezTo>
                <a:cubicBezTo>
                  <a:pt x="0" y="5810"/>
                  <a:pt x="1929" y="9144"/>
                  <a:pt x="4310" y="10513"/>
                </a:cubicBezTo>
                <a:cubicBezTo>
                  <a:pt x="5010" y="10917"/>
                  <a:pt x="5671" y="11108"/>
                  <a:pt x="6255" y="11108"/>
                </a:cubicBezTo>
                <a:cubicBezTo>
                  <a:pt x="7672" y="11108"/>
                  <a:pt x="8644" y="9987"/>
                  <a:pt x="8644" y="8049"/>
                </a:cubicBezTo>
                <a:cubicBezTo>
                  <a:pt x="8656" y="5310"/>
                  <a:pt x="6727" y="1976"/>
                  <a:pt x="4334" y="595"/>
                </a:cubicBezTo>
                <a:cubicBezTo>
                  <a:pt x="3639" y="192"/>
                  <a:pt x="2981" y="1"/>
                  <a:pt x="2398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5" name="Google Shape;2115;p51"/>
          <p:cNvSpPr/>
          <p:nvPr/>
        </p:nvSpPr>
        <p:spPr>
          <a:xfrm>
            <a:off x="6649462" y="2400014"/>
            <a:ext cx="93439" cy="119946"/>
          </a:xfrm>
          <a:custGeom>
            <a:avLst/>
            <a:gdLst/>
            <a:ahLst/>
            <a:cxnLst/>
            <a:rect l="l" t="t" r="r" b="b"/>
            <a:pathLst>
              <a:path w="8657" h="11113" extrusionOk="0">
                <a:moveTo>
                  <a:pt x="2405" y="1"/>
                </a:moveTo>
                <a:cubicBezTo>
                  <a:pt x="988" y="1"/>
                  <a:pt x="12" y="1123"/>
                  <a:pt x="12" y="3064"/>
                </a:cubicBezTo>
                <a:cubicBezTo>
                  <a:pt x="1" y="5803"/>
                  <a:pt x="1929" y="9149"/>
                  <a:pt x="4311" y="10518"/>
                </a:cubicBezTo>
                <a:cubicBezTo>
                  <a:pt x="5010" y="10921"/>
                  <a:pt x="5670" y="11112"/>
                  <a:pt x="6253" y="11112"/>
                </a:cubicBezTo>
                <a:cubicBezTo>
                  <a:pt x="7667" y="11112"/>
                  <a:pt x="8636" y="9991"/>
                  <a:pt x="8645" y="8053"/>
                </a:cubicBezTo>
                <a:cubicBezTo>
                  <a:pt x="8656" y="5315"/>
                  <a:pt x="6728" y="1969"/>
                  <a:pt x="4334" y="588"/>
                </a:cubicBezTo>
                <a:cubicBezTo>
                  <a:pt x="3642" y="190"/>
                  <a:pt x="2986" y="1"/>
                  <a:pt x="240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7" name="Google Shape;2117;p51"/>
          <p:cNvSpPr/>
          <p:nvPr/>
        </p:nvSpPr>
        <p:spPr>
          <a:xfrm>
            <a:off x="4475621" y="4107707"/>
            <a:ext cx="1174833" cy="680455"/>
          </a:xfrm>
          <a:custGeom>
            <a:avLst/>
            <a:gdLst/>
            <a:ahLst/>
            <a:cxnLst/>
            <a:rect l="l" t="t" r="r" b="b"/>
            <a:pathLst>
              <a:path w="108848" h="63044" extrusionOk="0">
                <a:moveTo>
                  <a:pt x="54245" y="1"/>
                </a:moveTo>
                <a:lnTo>
                  <a:pt x="1" y="31528"/>
                </a:lnTo>
                <a:lnTo>
                  <a:pt x="54603" y="63044"/>
                </a:lnTo>
                <a:lnTo>
                  <a:pt x="108848" y="31528"/>
                </a:lnTo>
                <a:lnTo>
                  <a:pt x="54245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18" name="Google Shape;2118;p51"/>
          <p:cNvSpPr/>
          <p:nvPr/>
        </p:nvSpPr>
        <p:spPr>
          <a:xfrm>
            <a:off x="5014067" y="4222978"/>
            <a:ext cx="144588" cy="76212"/>
          </a:xfrm>
          <a:custGeom>
            <a:avLst/>
            <a:gdLst/>
            <a:ahLst/>
            <a:cxnLst/>
            <a:rect l="l" t="t" r="r" b="b"/>
            <a:pathLst>
              <a:path w="13396" h="7061" extrusionOk="0">
                <a:moveTo>
                  <a:pt x="6671" y="0"/>
                </a:moveTo>
                <a:cubicBezTo>
                  <a:pt x="5112" y="0"/>
                  <a:pt x="3555" y="346"/>
                  <a:pt x="2370" y="1036"/>
                </a:cubicBezTo>
                <a:cubicBezTo>
                  <a:pt x="1" y="2417"/>
                  <a:pt x="13" y="4644"/>
                  <a:pt x="2406" y="6025"/>
                </a:cubicBezTo>
                <a:cubicBezTo>
                  <a:pt x="3596" y="6715"/>
                  <a:pt x="5156" y="7061"/>
                  <a:pt x="6714" y="7061"/>
                </a:cubicBezTo>
                <a:cubicBezTo>
                  <a:pt x="8273" y="7061"/>
                  <a:pt x="9829" y="6715"/>
                  <a:pt x="11014" y="6025"/>
                </a:cubicBezTo>
                <a:cubicBezTo>
                  <a:pt x="13395" y="4644"/>
                  <a:pt x="13371" y="2417"/>
                  <a:pt x="10990" y="1036"/>
                </a:cubicBezTo>
                <a:cubicBezTo>
                  <a:pt x="9794" y="346"/>
                  <a:pt x="8231" y="0"/>
                  <a:pt x="66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9" name="Google Shape;2119;p51"/>
          <p:cNvSpPr/>
          <p:nvPr/>
        </p:nvSpPr>
        <p:spPr>
          <a:xfrm>
            <a:off x="4668261" y="4423962"/>
            <a:ext cx="144577" cy="76223"/>
          </a:xfrm>
          <a:custGeom>
            <a:avLst/>
            <a:gdLst/>
            <a:ahLst/>
            <a:cxnLst/>
            <a:rect l="l" t="t" r="r" b="b"/>
            <a:pathLst>
              <a:path w="13395" h="7062" extrusionOk="0">
                <a:moveTo>
                  <a:pt x="6682" y="1"/>
                </a:moveTo>
                <a:cubicBezTo>
                  <a:pt x="5123" y="1"/>
                  <a:pt x="3566" y="346"/>
                  <a:pt x="2381" y="1037"/>
                </a:cubicBezTo>
                <a:cubicBezTo>
                  <a:pt x="0" y="2406"/>
                  <a:pt x="12" y="4644"/>
                  <a:pt x="2405" y="6025"/>
                </a:cubicBezTo>
                <a:cubicBezTo>
                  <a:pt x="3596" y="6716"/>
                  <a:pt x="5155" y="7061"/>
                  <a:pt x="6715" y="7061"/>
                </a:cubicBezTo>
                <a:cubicBezTo>
                  <a:pt x="8275" y="7061"/>
                  <a:pt x="9835" y="6716"/>
                  <a:pt x="11025" y="6025"/>
                </a:cubicBezTo>
                <a:cubicBezTo>
                  <a:pt x="13395" y="4644"/>
                  <a:pt x="13383" y="2406"/>
                  <a:pt x="11001" y="1037"/>
                </a:cubicBezTo>
                <a:cubicBezTo>
                  <a:pt x="9805" y="346"/>
                  <a:pt x="8242" y="1"/>
                  <a:pt x="668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0" name="Google Shape;2120;p51"/>
          <p:cNvSpPr/>
          <p:nvPr/>
        </p:nvSpPr>
        <p:spPr>
          <a:xfrm>
            <a:off x="5313238" y="4395801"/>
            <a:ext cx="144577" cy="76136"/>
          </a:xfrm>
          <a:custGeom>
            <a:avLst/>
            <a:gdLst/>
            <a:ahLst/>
            <a:cxnLst/>
            <a:rect l="l" t="t" r="r" b="b"/>
            <a:pathLst>
              <a:path w="13395" h="7054" extrusionOk="0">
                <a:moveTo>
                  <a:pt x="6673" y="1"/>
                </a:moveTo>
                <a:cubicBezTo>
                  <a:pt x="5116" y="1"/>
                  <a:pt x="3564" y="343"/>
                  <a:pt x="2382" y="1026"/>
                </a:cubicBezTo>
                <a:cubicBezTo>
                  <a:pt x="1" y="2407"/>
                  <a:pt x="12" y="4646"/>
                  <a:pt x="2406" y="6027"/>
                </a:cubicBezTo>
                <a:cubicBezTo>
                  <a:pt x="3602" y="6711"/>
                  <a:pt x="5162" y="7054"/>
                  <a:pt x="6720" y="7054"/>
                </a:cubicBezTo>
                <a:cubicBezTo>
                  <a:pt x="8278" y="7054"/>
                  <a:pt x="9835" y="6711"/>
                  <a:pt x="11026" y="6027"/>
                </a:cubicBezTo>
                <a:cubicBezTo>
                  <a:pt x="13395" y="4646"/>
                  <a:pt x="13383" y="2407"/>
                  <a:pt x="11002" y="1038"/>
                </a:cubicBezTo>
                <a:cubicBezTo>
                  <a:pt x="9803" y="346"/>
                  <a:pt x="8236" y="1"/>
                  <a:pt x="667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1" name="Google Shape;2121;p51"/>
          <p:cNvSpPr/>
          <p:nvPr/>
        </p:nvSpPr>
        <p:spPr>
          <a:xfrm>
            <a:off x="4967548" y="4596677"/>
            <a:ext cx="144459" cy="76233"/>
          </a:xfrm>
          <a:custGeom>
            <a:avLst/>
            <a:gdLst/>
            <a:ahLst/>
            <a:cxnLst/>
            <a:rect l="l" t="t" r="r" b="b"/>
            <a:pathLst>
              <a:path w="13384" h="7063" extrusionOk="0">
                <a:moveTo>
                  <a:pt x="6671" y="1"/>
                </a:moveTo>
                <a:cubicBezTo>
                  <a:pt x="5111" y="1"/>
                  <a:pt x="3555" y="346"/>
                  <a:pt x="2370" y="1037"/>
                </a:cubicBezTo>
                <a:cubicBezTo>
                  <a:pt x="1" y="2418"/>
                  <a:pt x="13" y="4656"/>
                  <a:pt x="2394" y="6037"/>
                </a:cubicBezTo>
                <a:cubicBezTo>
                  <a:pt x="3588" y="6720"/>
                  <a:pt x="5146" y="7063"/>
                  <a:pt x="6703" y="7063"/>
                </a:cubicBezTo>
                <a:cubicBezTo>
                  <a:pt x="8266" y="7063"/>
                  <a:pt x="9827" y="6717"/>
                  <a:pt x="11014" y="6025"/>
                </a:cubicBezTo>
                <a:cubicBezTo>
                  <a:pt x="13383" y="4656"/>
                  <a:pt x="13383" y="2418"/>
                  <a:pt x="10990" y="1037"/>
                </a:cubicBezTo>
                <a:cubicBezTo>
                  <a:pt x="9794" y="346"/>
                  <a:pt x="8231" y="1"/>
                  <a:pt x="6671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2" name="Google Shape;2122;p51"/>
          <p:cNvSpPr/>
          <p:nvPr/>
        </p:nvSpPr>
        <p:spPr>
          <a:xfrm>
            <a:off x="5063037" y="4447999"/>
            <a:ext cx="587416" cy="1023575"/>
          </a:xfrm>
          <a:custGeom>
            <a:avLst/>
            <a:gdLst/>
            <a:ahLst/>
            <a:cxnLst/>
            <a:rect l="l" t="t" r="r" b="b"/>
            <a:pathLst>
              <a:path w="54424" h="94834" extrusionOk="0">
                <a:moveTo>
                  <a:pt x="54424" y="0"/>
                </a:moveTo>
                <a:lnTo>
                  <a:pt x="179" y="31516"/>
                </a:lnTo>
                <a:lnTo>
                  <a:pt x="0" y="94833"/>
                </a:lnTo>
                <a:lnTo>
                  <a:pt x="54245" y="63306"/>
                </a:lnTo>
                <a:lnTo>
                  <a:pt x="54424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23" name="Google Shape;2123;p51"/>
          <p:cNvSpPr/>
          <p:nvPr/>
        </p:nvSpPr>
        <p:spPr>
          <a:xfrm>
            <a:off x="5458450" y="5013309"/>
            <a:ext cx="92791" cy="120022"/>
          </a:xfrm>
          <a:custGeom>
            <a:avLst/>
            <a:gdLst/>
            <a:ahLst/>
            <a:cxnLst/>
            <a:rect l="l" t="t" r="r" b="b"/>
            <a:pathLst>
              <a:path w="8597" h="11120" extrusionOk="0">
                <a:moveTo>
                  <a:pt x="6239" y="1"/>
                </a:moveTo>
                <a:cubicBezTo>
                  <a:pt x="5661" y="1"/>
                  <a:pt x="5006" y="192"/>
                  <a:pt x="4311" y="595"/>
                </a:cubicBezTo>
                <a:cubicBezTo>
                  <a:pt x="1941" y="1976"/>
                  <a:pt x="12" y="5310"/>
                  <a:pt x="1" y="8060"/>
                </a:cubicBezTo>
                <a:cubicBezTo>
                  <a:pt x="1" y="9998"/>
                  <a:pt x="961" y="11119"/>
                  <a:pt x="2362" y="11119"/>
                </a:cubicBezTo>
                <a:cubicBezTo>
                  <a:pt x="2941" y="11119"/>
                  <a:pt x="3594" y="10928"/>
                  <a:pt x="4287" y="10525"/>
                </a:cubicBezTo>
                <a:cubicBezTo>
                  <a:pt x="6656" y="9144"/>
                  <a:pt x="8585" y="5810"/>
                  <a:pt x="8597" y="3071"/>
                </a:cubicBezTo>
                <a:cubicBezTo>
                  <a:pt x="8597" y="1124"/>
                  <a:pt x="7642" y="1"/>
                  <a:pt x="623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4" name="Google Shape;2124;p51"/>
          <p:cNvSpPr/>
          <p:nvPr/>
        </p:nvSpPr>
        <p:spPr>
          <a:xfrm>
            <a:off x="5459606" y="4613396"/>
            <a:ext cx="92791" cy="120011"/>
          </a:xfrm>
          <a:custGeom>
            <a:avLst/>
            <a:gdLst/>
            <a:ahLst/>
            <a:cxnLst/>
            <a:rect l="l" t="t" r="r" b="b"/>
            <a:pathLst>
              <a:path w="8597" h="11119" extrusionOk="0">
                <a:moveTo>
                  <a:pt x="6235" y="0"/>
                </a:moveTo>
                <a:cubicBezTo>
                  <a:pt x="5657" y="0"/>
                  <a:pt x="5003" y="191"/>
                  <a:pt x="4311" y="595"/>
                </a:cubicBezTo>
                <a:cubicBezTo>
                  <a:pt x="1941" y="1964"/>
                  <a:pt x="13" y="5310"/>
                  <a:pt x="1" y="8048"/>
                </a:cubicBezTo>
                <a:cubicBezTo>
                  <a:pt x="1" y="9995"/>
                  <a:pt x="956" y="11119"/>
                  <a:pt x="2354" y="11119"/>
                </a:cubicBezTo>
                <a:cubicBezTo>
                  <a:pt x="2931" y="11119"/>
                  <a:pt x="3583" y="10928"/>
                  <a:pt x="4275" y="10525"/>
                </a:cubicBezTo>
                <a:cubicBezTo>
                  <a:pt x="6656" y="9143"/>
                  <a:pt x="8585" y="5810"/>
                  <a:pt x="8597" y="3059"/>
                </a:cubicBezTo>
                <a:cubicBezTo>
                  <a:pt x="8597" y="1121"/>
                  <a:pt x="7637" y="0"/>
                  <a:pt x="623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5" name="Google Shape;2125;p51"/>
          <p:cNvSpPr/>
          <p:nvPr/>
        </p:nvSpPr>
        <p:spPr>
          <a:xfrm>
            <a:off x="5459002" y="4813351"/>
            <a:ext cx="92844" cy="120022"/>
          </a:xfrm>
          <a:custGeom>
            <a:avLst/>
            <a:gdLst/>
            <a:ahLst/>
            <a:cxnLst/>
            <a:rect l="l" t="t" r="r" b="b"/>
            <a:pathLst>
              <a:path w="8602" h="11120" extrusionOk="0">
                <a:moveTo>
                  <a:pt x="6239" y="0"/>
                </a:moveTo>
                <a:cubicBezTo>
                  <a:pt x="5659" y="0"/>
                  <a:pt x="5003" y="191"/>
                  <a:pt x="4307" y="595"/>
                </a:cubicBezTo>
                <a:cubicBezTo>
                  <a:pt x="1938" y="1976"/>
                  <a:pt x="9" y="5310"/>
                  <a:pt x="9" y="8048"/>
                </a:cubicBezTo>
                <a:cubicBezTo>
                  <a:pt x="1" y="9995"/>
                  <a:pt x="959" y="11119"/>
                  <a:pt x="2360" y="11119"/>
                </a:cubicBezTo>
                <a:cubicBezTo>
                  <a:pt x="2938" y="11119"/>
                  <a:pt x="3592" y="10928"/>
                  <a:pt x="4283" y="10525"/>
                </a:cubicBezTo>
                <a:cubicBezTo>
                  <a:pt x="6665" y="9144"/>
                  <a:pt x="8582" y="5810"/>
                  <a:pt x="8594" y="3059"/>
                </a:cubicBezTo>
                <a:cubicBezTo>
                  <a:pt x="8602" y="1121"/>
                  <a:pt x="7644" y="0"/>
                  <a:pt x="623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6" name="Google Shape;2126;p51"/>
          <p:cNvSpPr/>
          <p:nvPr/>
        </p:nvSpPr>
        <p:spPr>
          <a:xfrm>
            <a:off x="5161118" y="5186026"/>
            <a:ext cx="92855" cy="120065"/>
          </a:xfrm>
          <a:custGeom>
            <a:avLst/>
            <a:gdLst/>
            <a:ahLst/>
            <a:cxnLst/>
            <a:rect l="l" t="t" r="r" b="b"/>
            <a:pathLst>
              <a:path w="8603" h="11124" extrusionOk="0">
                <a:moveTo>
                  <a:pt x="6242" y="1"/>
                </a:moveTo>
                <a:cubicBezTo>
                  <a:pt x="5665" y="1"/>
                  <a:pt x="5011" y="192"/>
                  <a:pt x="4319" y="595"/>
                </a:cubicBezTo>
                <a:cubicBezTo>
                  <a:pt x="1938" y="1976"/>
                  <a:pt x="21" y="5310"/>
                  <a:pt x="9" y="8060"/>
                </a:cubicBezTo>
                <a:cubicBezTo>
                  <a:pt x="1" y="10002"/>
                  <a:pt x="962" y="11124"/>
                  <a:pt x="2367" y="11124"/>
                </a:cubicBezTo>
                <a:cubicBezTo>
                  <a:pt x="2944" y="11124"/>
                  <a:pt x="3595" y="10935"/>
                  <a:pt x="4284" y="10537"/>
                </a:cubicBezTo>
                <a:cubicBezTo>
                  <a:pt x="6665" y="9156"/>
                  <a:pt x="8594" y="5810"/>
                  <a:pt x="8594" y="3071"/>
                </a:cubicBezTo>
                <a:cubicBezTo>
                  <a:pt x="8602" y="1124"/>
                  <a:pt x="7644" y="1"/>
                  <a:pt x="624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7" name="Google Shape;2127;p51"/>
          <p:cNvSpPr/>
          <p:nvPr/>
        </p:nvSpPr>
        <p:spPr>
          <a:xfrm>
            <a:off x="5162282" y="4786111"/>
            <a:ext cx="92844" cy="120119"/>
          </a:xfrm>
          <a:custGeom>
            <a:avLst/>
            <a:gdLst/>
            <a:ahLst/>
            <a:cxnLst/>
            <a:rect l="l" t="t" r="r" b="b"/>
            <a:pathLst>
              <a:path w="8602" h="11129" extrusionOk="0">
                <a:moveTo>
                  <a:pt x="6237" y="0"/>
                </a:moveTo>
                <a:cubicBezTo>
                  <a:pt x="5658" y="0"/>
                  <a:pt x="5002" y="191"/>
                  <a:pt x="4307" y="595"/>
                </a:cubicBezTo>
                <a:cubicBezTo>
                  <a:pt x="1937" y="1976"/>
                  <a:pt x="9" y="5322"/>
                  <a:pt x="9" y="8060"/>
                </a:cubicBezTo>
                <a:cubicBezTo>
                  <a:pt x="0" y="10001"/>
                  <a:pt x="961" y="11129"/>
                  <a:pt x="2365" y="11129"/>
                </a:cubicBezTo>
                <a:cubicBezTo>
                  <a:pt x="2942" y="11129"/>
                  <a:pt x="3593" y="10939"/>
                  <a:pt x="4283" y="10536"/>
                </a:cubicBezTo>
                <a:cubicBezTo>
                  <a:pt x="6664" y="9155"/>
                  <a:pt x="8581" y="5810"/>
                  <a:pt x="8593" y="3071"/>
                </a:cubicBezTo>
                <a:cubicBezTo>
                  <a:pt x="8601" y="1124"/>
                  <a:pt x="7643" y="0"/>
                  <a:pt x="623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8" name="Google Shape;2128;p51"/>
          <p:cNvSpPr/>
          <p:nvPr/>
        </p:nvSpPr>
        <p:spPr>
          <a:xfrm>
            <a:off x="5161731" y="4986068"/>
            <a:ext cx="92791" cy="120087"/>
          </a:xfrm>
          <a:custGeom>
            <a:avLst/>
            <a:gdLst/>
            <a:ahLst/>
            <a:cxnLst/>
            <a:rect l="l" t="t" r="r" b="b"/>
            <a:pathLst>
              <a:path w="8597" h="11126" extrusionOk="0">
                <a:moveTo>
                  <a:pt x="6239" y="0"/>
                </a:moveTo>
                <a:cubicBezTo>
                  <a:pt x="5660" y="0"/>
                  <a:pt x="5005" y="192"/>
                  <a:pt x="4310" y="595"/>
                </a:cubicBezTo>
                <a:cubicBezTo>
                  <a:pt x="1941" y="1976"/>
                  <a:pt x="12" y="5322"/>
                  <a:pt x="0" y="8060"/>
                </a:cubicBezTo>
                <a:cubicBezTo>
                  <a:pt x="0" y="10008"/>
                  <a:pt x="962" y="11126"/>
                  <a:pt x="2364" y="11126"/>
                </a:cubicBezTo>
                <a:cubicBezTo>
                  <a:pt x="2942" y="11126"/>
                  <a:pt x="3595" y="10936"/>
                  <a:pt x="4286" y="10537"/>
                </a:cubicBezTo>
                <a:cubicBezTo>
                  <a:pt x="6656" y="9155"/>
                  <a:pt x="8584" y="5810"/>
                  <a:pt x="8596" y="3071"/>
                </a:cubicBezTo>
                <a:cubicBezTo>
                  <a:pt x="8596" y="1124"/>
                  <a:pt x="7641" y="0"/>
                  <a:pt x="623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9" name="Google Shape;2129;p51"/>
          <p:cNvSpPr/>
          <p:nvPr/>
        </p:nvSpPr>
        <p:spPr>
          <a:xfrm>
            <a:off x="4473689" y="4447999"/>
            <a:ext cx="591281" cy="1023575"/>
          </a:xfrm>
          <a:custGeom>
            <a:avLst/>
            <a:gdLst/>
            <a:ahLst/>
            <a:cxnLst/>
            <a:rect l="l" t="t" r="r" b="b"/>
            <a:pathLst>
              <a:path w="54782" h="94834" extrusionOk="0">
                <a:moveTo>
                  <a:pt x="180" y="0"/>
                </a:moveTo>
                <a:lnTo>
                  <a:pt x="1" y="63306"/>
                </a:lnTo>
                <a:lnTo>
                  <a:pt x="54603" y="94833"/>
                </a:lnTo>
                <a:lnTo>
                  <a:pt x="54782" y="31516"/>
                </a:lnTo>
                <a:lnTo>
                  <a:pt x="18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30" name="Google Shape;2130;p51"/>
          <p:cNvSpPr/>
          <p:nvPr/>
        </p:nvSpPr>
        <p:spPr>
          <a:xfrm>
            <a:off x="4722615" y="4899709"/>
            <a:ext cx="93439" cy="120022"/>
          </a:xfrm>
          <a:custGeom>
            <a:avLst/>
            <a:gdLst/>
            <a:ahLst/>
            <a:cxnLst/>
            <a:rect l="l" t="t" r="r" b="b"/>
            <a:pathLst>
              <a:path w="8657" h="11120" extrusionOk="0">
                <a:moveTo>
                  <a:pt x="2401" y="0"/>
                </a:moveTo>
                <a:cubicBezTo>
                  <a:pt x="984" y="0"/>
                  <a:pt x="12" y="1121"/>
                  <a:pt x="12" y="3059"/>
                </a:cubicBezTo>
                <a:cubicBezTo>
                  <a:pt x="0" y="5810"/>
                  <a:pt x="1929" y="9155"/>
                  <a:pt x="4310" y="10525"/>
                </a:cubicBezTo>
                <a:cubicBezTo>
                  <a:pt x="5010" y="10928"/>
                  <a:pt x="5670" y="11119"/>
                  <a:pt x="6256" y="11119"/>
                </a:cubicBezTo>
                <a:cubicBezTo>
                  <a:pt x="7673" y="11119"/>
                  <a:pt x="8648" y="9998"/>
                  <a:pt x="8656" y="8060"/>
                </a:cubicBezTo>
                <a:cubicBezTo>
                  <a:pt x="8656" y="5310"/>
                  <a:pt x="6739" y="1976"/>
                  <a:pt x="4346" y="595"/>
                </a:cubicBezTo>
                <a:cubicBezTo>
                  <a:pt x="3647" y="191"/>
                  <a:pt x="2986" y="0"/>
                  <a:pt x="240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33" name="Google Shape;2133;p51"/>
          <p:cNvSpPr/>
          <p:nvPr/>
        </p:nvSpPr>
        <p:spPr>
          <a:xfrm>
            <a:off x="946967" y="1814959"/>
            <a:ext cx="3200400" cy="1518800"/>
          </a:xfrm>
          <a:prstGeom prst="roundRect">
            <a:avLst>
              <a:gd name="adj" fmla="val 8396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38" name="Google Shape;2138;p51"/>
          <p:cNvSpPr/>
          <p:nvPr/>
        </p:nvSpPr>
        <p:spPr>
          <a:xfrm>
            <a:off x="946967" y="4030239"/>
            <a:ext cx="3200400" cy="1518800"/>
          </a:xfrm>
          <a:prstGeom prst="roundRect">
            <a:avLst>
              <a:gd name="adj" fmla="val 8396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43" name="Google Shape;2143;p51"/>
          <p:cNvSpPr/>
          <p:nvPr/>
        </p:nvSpPr>
        <p:spPr>
          <a:xfrm>
            <a:off x="8044633" y="1814959"/>
            <a:ext cx="3200400" cy="1518800"/>
          </a:xfrm>
          <a:prstGeom prst="roundRect">
            <a:avLst>
              <a:gd name="adj" fmla="val 8396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r"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48" name="Google Shape;2148;p51"/>
          <p:cNvSpPr/>
          <p:nvPr/>
        </p:nvSpPr>
        <p:spPr>
          <a:xfrm>
            <a:off x="8044633" y="4030239"/>
            <a:ext cx="3200400" cy="1518800"/>
          </a:xfrm>
          <a:prstGeom prst="roundRect">
            <a:avLst>
              <a:gd name="adj" fmla="val 8396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r"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3" name="Google Shape;2153;p51"/>
          <p:cNvSpPr/>
          <p:nvPr/>
        </p:nvSpPr>
        <p:spPr>
          <a:xfrm>
            <a:off x="4470226" y="2238656"/>
            <a:ext cx="592047" cy="1018815"/>
          </a:xfrm>
          <a:custGeom>
            <a:avLst/>
            <a:gdLst/>
            <a:ahLst/>
            <a:cxnLst/>
            <a:rect l="l" t="t" r="r" b="b"/>
            <a:pathLst>
              <a:path w="54853" h="94393" extrusionOk="0">
                <a:moveTo>
                  <a:pt x="179" y="0"/>
                </a:moveTo>
                <a:lnTo>
                  <a:pt x="1" y="62818"/>
                </a:lnTo>
                <a:lnTo>
                  <a:pt x="54674" y="94393"/>
                </a:lnTo>
                <a:lnTo>
                  <a:pt x="54853" y="31564"/>
                </a:lnTo>
                <a:lnTo>
                  <a:pt x="179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54" name="Google Shape;2154;p51"/>
          <p:cNvSpPr/>
          <p:nvPr/>
        </p:nvSpPr>
        <p:spPr>
          <a:xfrm>
            <a:off x="4569687" y="2400459"/>
            <a:ext cx="93827" cy="120497"/>
          </a:xfrm>
          <a:custGeom>
            <a:avLst/>
            <a:gdLst/>
            <a:ahLst/>
            <a:cxnLst/>
            <a:rect l="l" t="t" r="r" b="b"/>
            <a:pathLst>
              <a:path w="8693" h="11164" extrusionOk="0">
                <a:moveTo>
                  <a:pt x="2419" y="0"/>
                </a:moveTo>
                <a:cubicBezTo>
                  <a:pt x="997" y="0"/>
                  <a:pt x="21" y="1124"/>
                  <a:pt x="13" y="3071"/>
                </a:cubicBezTo>
                <a:cubicBezTo>
                  <a:pt x="1" y="5833"/>
                  <a:pt x="1942" y="9179"/>
                  <a:pt x="4335" y="10572"/>
                </a:cubicBezTo>
                <a:cubicBezTo>
                  <a:pt x="5031" y="10974"/>
                  <a:pt x="5690" y="11164"/>
                  <a:pt x="6274" y="11164"/>
                </a:cubicBezTo>
                <a:cubicBezTo>
                  <a:pt x="7699" y="11164"/>
                  <a:pt x="8681" y="10034"/>
                  <a:pt x="8681" y="8084"/>
                </a:cubicBezTo>
                <a:cubicBezTo>
                  <a:pt x="8693" y="5333"/>
                  <a:pt x="6764" y="1976"/>
                  <a:pt x="4371" y="595"/>
                </a:cubicBezTo>
                <a:cubicBezTo>
                  <a:pt x="3668" y="191"/>
                  <a:pt x="3006" y="0"/>
                  <a:pt x="241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5" name="Google Shape;2155;p51"/>
          <p:cNvSpPr/>
          <p:nvPr/>
        </p:nvSpPr>
        <p:spPr>
          <a:xfrm>
            <a:off x="4568532" y="2801785"/>
            <a:ext cx="93827" cy="120508"/>
          </a:xfrm>
          <a:custGeom>
            <a:avLst/>
            <a:gdLst/>
            <a:ahLst/>
            <a:cxnLst/>
            <a:rect l="l" t="t" r="r" b="b"/>
            <a:pathLst>
              <a:path w="8693" h="11165" extrusionOk="0">
                <a:moveTo>
                  <a:pt x="2419" y="0"/>
                </a:moveTo>
                <a:cubicBezTo>
                  <a:pt x="996" y="0"/>
                  <a:pt x="21" y="1124"/>
                  <a:pt x="13" y="3071"/>
                </a:cubicBezTo>
                <a:cubicBezTo>
                  <a:pt x="1" y="5822"/>
                  <a:pt x="1942" y="9179"/>
                  <a:pt x="4335" y="10572"/>
                </a:cubicBezTo>
                <a:cubicBezTo>
                  <a:pt x="5031" y="10974"/>
                  <a:pt x="5690" y="11164"/>
                  <a:pt x="6274" y="11164"/>
                </a:cubicBezTo>
                <a:cubicBezTo>
                  <a:pt x="7700" y="11164"/>
                  <a:pt x="8684" y="10034"/>
                  <a:pt x="8692" y="8084"/>
                </a:cubicBezTo>
                <a:cubicBezTo>
                  <a:pt x="8692" y="5333"/>
                  <a:pt x="6764" y="1976"/>
                  <a:pt x="4370" y="595"/>
                </a:cubicBezTo>
                <a:cubicBezTo>
                  <a:pt x="3668" y="191"/>
                  <a:pt x="3005" y="0"/>
                  <a:pt x="241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6" name="Google Shape;2156;p51"/>
          <p:cNvSpPr/>
          <p:nvPr/>
        </p:nvSpPr>
        <p:spPr>
          <a:xfrm>
            <a:off x="4569179" y="2601107"/>
            <a:ext cx="93816" cy="120475"/>
          </a:xfrm>
          <a:custGeom>
            <a:avLst/>
            <a:gdLst/>
            <a:ahLst/>
            <a:cxnLst/>
            <a:rect l="l" t="t" r="r" b="b"/>
            <a:pathLst>
              <a:path w="8692" h="11162" extrusionOk="0">
                <a:moveTo>
                  <a:pt x="2405" y="0"/>
                </a:moveTo>
                <a:cubicBezTo>
                  <a:pt x="987" y="0"/>
                  <a:pt x="9" y="1126"/>
                  <a:pt x="0" y="3079"/>
                </a:cubicBezTo>
                <a:cubicBezTo>
                  <a:pt x="0" y="5829"/>
                  <a:pt x="1929" y="9187"/>
                  <a:pt x="4334" y="10568"/>
                </a:cubicBezTo>
                <a:cubicBezTo>
                  <a:pt x="5033" y="10971"/>
                  <a:pt x="5693" y="11162"/>
                  <a:pt x="6278" y="11162"/>
                </a:cubicBezTo>
                <a:cubicBezTo>
                  <a:pt x="7696" y="11162"/>
                  <a:pt x="8672" y="10038"/>
                  <a:pt x="8680" y="8091"/>
                </a:cubicBezTo>
                <a:cubicBezTo>
                  <a:pt x="8692" y="5329"/>
                  <a:pt x="6751" y="1983"/>
                  <a:pt x="4358" y="602"/>
                </a:cubicBezTo>
                <a:cubicBezTo>
                  <a:pt x="3657" y="194"/>
                  <a:pt x="2993" y="0"/>
                  <a:pt x="240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7" name="Google Shape;2157;p51"/>
          <p:cNvSpPr/>
          <p:nvPr/>
        </p:nvSpPr>
        <p:spPr>
          <a:xfrm>
            <a:off x="4870011" y="2573810"/>
            <a:ext cx="93827" cy="120529"/>
          </a:xfrm>
          <a:custGeom>
            <a:avLst/>
            <a:gdLst/>
            <a:ahLst/>
            <a:cxnLst/>
            <a:rect l="l" t="t" r="r" b="b"/>
            <a:pathLst>
              <a:path w="8693" h="11167" extrusionOk="0">
                <a:moveTo>
                  <a:pt x="2413" y="1"/>
                </a:moveTo>
                <a:cubicBezTo>
                  <a:pt x="992" y="1"/>
                  <a:pt x="13" y="1124"/>
                  <a:pt x="13" y="3072"/>
                </a:cubicBezTo>
                <a:cubicBezTo>
                  <a:pt x="1" y="5834"/>
                  <a:pt x="1930" y="9179"/>
                  <a:pt x="4335" y="10573"/>
                </a:cubicBezTo>
                <a:cubicBezTo>
                  <a:pt x="5033" y="10975"/>
                  <a:pt x="5694" y="11167"/>
                  <a:pt x="6279" y="11167"/>
                </a:cubicBezTo>
                <a:cubicBezTo>
                  <a:pt x="7701" y="11167"/>
                  <a:pt x="8681" y="10040"/>
                  <a:pt x="8681" y="8084"/>
                </a:cubicBezTo>
                <a:cubicBezTo>
                  <a:pt x="8692" y="5334"/>
                  <a:pt x="6752" y="1988"/>
                  <a:pt x="4359" y="595"/>
                </a:cubicBezTo>
                <a:cubicBezTo>
                  <a:pt x="3660" y="192"/>
                  <a:pt x="2999" y="1"/>
                  <a:pt x="241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8" name="Google Shape;2158;p51"/>
          <p:cNvSpPr/>
          <p:nvPr/>
        </p:nvSpPr>
        <p:spPr>
          <a:xfrm>
            <a:off x="4868856" y="2975171"/>
            <a:ext cx="93827" cy="120475"/>
          </a:xfrm>
          <a:custGeom>
            <a:avLst/>
            <a:gdLst/>
            <a:ahLst/>
            <a:cxnLst/>
            <a:rect l="l" t="t" r="r" b="b"/>
            <a:pathLst>
              <a:path w="8693" h="11162" extrusionOk="0">
                <a:moveTo>
                  <a:pt x="2423" y="0"/>
                </a:moveTo>
                <a:cubicBezTo>
                  <a:pt x="994" y="0"/>
                  <a:pt x="13" y="1130"/>
                  <a:pt x="13" y="3081"/>
                </a:cubicBezTo>
                <a:cubicBezTo>
                  <a:pt x="1" y="5831"/>
                  <a:pt x="1941" y="9189"/>
                  <a:pt x="4335" y="10570"/>
                </a:cubicBezTo>
                <a:cubicBezTo>
                  <a:pt x="5031" y="10971"/>
                  <a:pt x="5690" y="11162"/>
                  <a:pt x="6274" y="11162"/>
                </a:cubicBezTo>
                <a:cubicBezTo>
                  <a:pt x="7699" y="11162"/>
                  <a:pt x="8680" y="10032"/>
                  <a:pt x="8680" y="8081"/>
                </a:cubicBezTo>
                <a:cubicBezTo>
                  <a:pt x="8692" y="5331"/>
                  <a:pt x="6763" y="1973"/>
                  <a:pt x="4370" y="592"/>
                </a:cubicBezTo>
                <a:cubicBezTo>
                  <a:pt x="3671" y="190"/>
                  <a:pt x="3009" y="0"/>
                  <a:pt x="242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9" name="Google Shape;2159;p51"/>
          <p:cNvSpPr/>
          <p:nvPr/>
        </p:nvSpPr>
        <p:spPr>
          <a:xfrm>
            <a:off x="4869503" y="2774489"/>
            <a:ext cx="93816" cy="120454"/>
          </a:xfrm>
          <a:custGeom>
            <a:avLst/>
            <a:gdLst/>
            <a:ahLst/>
            <a:cxnLst/>
            <a:rect l="l" t="t" r="r" b="b"/>
            <a:pathLst>
              <a:path w="8692" h="11160" extrusionOk="0">
                <a:moveTo>
                  <a:pt x="2405" y="0"/>
                </a:moveTo>
                <a:cubicBezTo>
                  <a:pt x="983" y="0"/>
                  <a:pt x="9" y="1130"/>
                  <a:pt x="0" y="3076"/>
                </a:cubicBezTo>
                <a:cubicBezTo>
                  <a:pt x="0" y="5826"/>
                  <a:pt x="1929" y="9184"/>
                  <a:pt x="4334" y="10565"/>
                </a:cubicBezTo>
                <a:cubicBezTo>
                  <a:pt x="5033" y="10968"/>
                  <a:pt x="5693" y="11160"/>
                  <a:pt x="6278" y="11160"/>
                </a:cubicBezTo>
                <a:cubicBezTo>
                  <a:pt x="7696" y="11160"/>
                  <a:pt x="8671" y="10036"/>
                  <a:pt x="8680" y="8089"/>
                </a:cubicBezTo>
                <a:cubicBezTo>
                  <a:pt x="8692" y="5326"/>
                  <a:pt x="6751" y="1981"/>
                  <a:pt x="4358" y="600"/>
                </a:cubicBezTo>
                <a:cubicBezTo>
                  <a:pt x="3655" y="193"/>
                  <a:pt x="2992" y="0"/>
                  <a:pt x="240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0" name="Google Shape;2160;p51"/>
          <p:cNvSpPr/>
          <p:nvPr/>
        </p:nvSpPr>
        <p:spPr>
          <a:xfrm>
            <a:off x="5060341" y="2235567"/>
            <a:ext cx="593580" cy="1021902"/>
          </a:xfrm>
          <a:custGeom>
            <a:avLst/>
            <a:gdLst/>
            <a:ahLst/>
            <a:cxnLst/>
            <a:rect l="l" t="t" r="r" b="b"/>
            <a:pathLst>
              <a:path w="54995" h="94679" extrusionOk="0">
                <a:moveTo>
                  <a:pt x="54995" y="1"/>
                </a:moveTo>
                <a:lnTo>
                  <a:pt x="179" y="31850"/>
                </a:lnTo>
                <a:lnTo>
                  <a:pt x="0" y="94679"/>
                </a:lnTo>
                <a:lnTo>
                  <a:pt x="54816" y="62818"/>
                </a:lnTo>
                <a:lnTo>
                  <a:pt x="54995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61" name="Google Shape;2161;p51"/>
          <p:cNvSpPr/>
          <p:nvPr/>
        </p:nvSpPr>
        <p:spPr>
          <a:xfrm>
            <a:off x="5485609" y="2411908"/>
            <a:ext cx="94043" cy="120626"/>
          </a:xfrm>
          <a:custGeom>
            <a:avLst/>
            <a:gdLst/>
            <a:ahLst/>
            <a:cxnLst/>
            <a:rect l="l" t="t" r="r" b="b"/>
            <a:pathLst>
              <a:path w="8713" h="11176" extrusionOk="0">
                <a:moveTo>
                  <a:pt x="6336" y="1"/>
                </a:moveTo>
                <a:cubicBezTo>
                  <a:pt x="5748" y="1"/>
                  <a:pt x="5083" y="195"/>
                  <a:pt x="4378" y="605"/>
                </a:cubicBezTo>
                <a:cubicBezTo>
                  <a:pt x="1973" y="1998"/>
                  <a:pt x="21" y="5356"/>
                  <a:pt x="9" y="8118"/>
                </a:cubicBezTo>
                <a:cubicBezTo>
                  <a:pt x="0" y="10059"/>
                  <a:pt x="964" y="11175"/>
                  <a:pt x="2377" y="11175"/>
                </a:cubicBezTo>
                <a:cubicBezTo>
                  <a:pt x="2967" y="11175"/>
                  <a:pt x="3634" y="10981"/>
                  <a:pt x="4343" y="10571"/>
                </a:cubicBezTo>
                <a:cubicBezTo>
                  <a:pt x="6748" y="9178"/>
                  <a:pt x="8700" y="5820"/>
                  <a:pt x="8712" y="3058"/>
                </a:cubicBezTo>
                <a:cubicBezTo>
                  <a:pt x="8712" y="1117"/>
                  <a:pt x="7746" y="1"/>
                  <a:pt x="633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2" name="Google Shape;2162;p51"/>
          <p:cNvSpPr/>
          <p:nvPr/>
        </p:nvSpPr>
        <p:spPr>
          <a:xfrm>
            <a:off x="5135516" y="2615341"/>
            <a:ext cx="94043" cy="120702"/>
          </a:xfrm>
          <a:custGeom>
            <a:avLst/>
            <a:gdLst/>
            <a:ahLst/>
            <a:cxnLst/>
            <a:rect l="l" t="t" r="r" b="b"/>
            <a:pathLst>
              <a:path w="8713" h="11183" extrusionOk="0">
                <a:moveTo>
                  <a:pt x="6329" y="0"/>
                </a:moveTo>
                <a:cubicBezTo>
                  <a:pt x="5740" y="0"/>
                  <a:pt x="5074" y="195"/>
                  <a:pt x="4370" y="605"/>
                </a:cubicBezTo>
                <a:cubicBezTo>
                  <a:pt x="1965" y="1998"/>
                  <a:pt x="12" y="5367"/>
                  <a:pt x="0" y="8129"/>
                </a:cubicBezTo>
                <a:cubicBezTo>
                  <a:pt x="0" y="10066"/>
                  <a:pt x="963" y="11183"/>
                  <a:pt x="2368" y="11183"/>
                </a:cubicBezTo>
                <a:cubicBezTo>
                  <a:pt x="2958" y="11183"/>
                  <a:pt x="3626" y="10986"/>
                  <a:pt x="4334" y="10570"/>
                </a:cubicBezTo>
                <a:cubicBezTo>
                  <a:pt x="6739" y="9177"/>
                  <a:pt x="8692" y="5820"/>
                  <a:pt x="8704" y="3069"/>
                </a:cubicBezTo>
                <a:cubicBezTo>
                  <a:pt x="8712" y="1120"/>
                  <a:pt x="7742" y="0"/>
                  <a:pt x="632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3" name="Google Shape;2163;p51"/>
          <p:cNvSpPr/>
          <p:nvPr/>
        </p:nvSpPr>
        <p:spPr>
          <a:xfrm>
            <a:off x="5484701" y="2756963"/>
            <a:ext cx="94011" cy="120669"/>
          </a:xfrm>
          <a:custGeom>
            <a:avLst/>
            <a:gdLst/>
            <a:ahLst/>
            <a:cxnLst/>
            <a:rect l="l" t="t" r="r" b="b"/>
            <a:pathLst>
              <a:path w="8710" h="11180" extrusionOk="0">
                <a:moveTo>
                  <a:pt x="6331" y="0"/>
                </a:moveTo>
                <a:cubicBezTo>
                  <a:pt x="5742" y="0"/>
                  <a:pt x="5075" y="195"/>
                  <a:pt x="4367" y="604"/>
                </a:cubicBezTo>
                <a:cubicBezTo>
                  <a:pt x="1962" y="1997"/>
                  <a:pt x="9" y="5367"/>
                  <a:pt x="9" y="8117"/>
                </a:cubicBezTo>
                <a:cubicBezTo>
                  <a:pt x="1" y="10057"/>
                  <a:pt x="964" y="11180"/>
                  <a:pt x="2376" y="11180"/>
                </a:cubicBezTo>
                <a:cubicBezTo>
                  <a:pt x="2966" y="11180"/>
                  <a:pt x="3635" y="10984"/>
                  <a:pt x="4343" y="10570"/>
                </a:cubicBezTo>
                <a:cubicBezTo>
                  <a:pt x="6736" y="9177"/>
                  <a:pt x="8689" y="5819"/>
                  <a:pt x="8701" y="3069"/>
                </a:cubicBezTo>
                <a:cubicBezTo>
                  <a:pt x="8709" y="1119"/>
                  <a:pt x="7745" y="0"/>
                  <a:pt x="633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4" name="Google Shape;2164;p51"/>
          <p:cNvSpPr/>
          <p:nvPr/>
        </p:nvSpPr>
        <p:spPr>
          <a:xfrm>
            <a:off x="5134523" y="2960384"/>
            <a:ext cx="94043" cy="120745"/>
          </a:xfrm>
          <a:custGeom>
            <a:avLst/>
            <a:gdLst/>
            <a:ahLst/>
            <a:cxnLst/>
            <a:rect l="l" t="t" r="r" b="b"/>
            <a:pathLst>
              <a:path w="8713" h="11187" extrusionOk="0">
                <a:moveTo>
                  <a:pt x="6331" y="1"/>
                </a:moveTo>
                <a:cubicBezTo>
                  <a:pt x="5741" y="1"/>
                  <a:pt x="5074" y="195"/>
                  <a:pt x="4367" y="605"/>
                </a:cubicBezTo>
                <a:cubicBezTo>
                  <a:pt x="1973" y="2010"/>
                  <a:pt x="9" y="5367"/>
                  <a:pt x="9" y="8130"/>
                </a:cubicBezTo>
                <a:cubicBezTo>
                  <a:pt x="0" y="10070"/>
                  <a:pt x="964" y="11187"/>
                  <a:pt x="2377" y="11187"/>
                </a:cubicBezTo>
                <a:cubicBezTo>
                  <a:pt x="2967" y="11187"/>
                  <a:pt x="3635" y="10992"/>
                  <a:pt x="4343" y="10582"/>
                </a:cubicBezTo>
                <a:cubicBezTo>
                  <a:pt x="6736" y="9177"/>
                  <a:pt x="8700" y="5820"/>
                  <a:pt x="8712" y="3070"/>
                </a:cubicBezTo>
                <a:cubicBezTo>
                  <a:pt x="8712" y="1120"/>
                  <a:pt x="7745" y="1"/>
                  <a:pt x="6331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5" name="Google Shape;2165;p51"/>
          <p:cNvSpPr/>
          <p:nvPr/>
        </p:nvSpPr>
        <p:spPr>
          <a:xfrm>
            <a:off x="4472157" y="1894897"/>
            <a:ext cx="1181763" cy="684438"/>
          </a:xfrm>
          <a:custGeom>
            <a:avLst/>
            <a:gdLst/>
            <a:ahLst/>
            <a:cxnLst/>
            <a:rect l="l" t="t" r="r" b="b"/>
            <a:pathLst>
              <a:path w="109490" h="63413" extrusionOk="0">
                <a:moveTo>
                  <a:pt x="54805" y="0"/>
                </a:moveTo>
                <a:lnTo>
                  <a:pt x="0" y="31849"/>
                </a:lnTo>
                <a:lnTo>
                  <a:pt x="54674" y="63413"/>
                </a:lnTo>
                <a:lnTo>
                  <a:pt x="109490" y="31564"/>
                </a:lnTo>
                <a:lnTo>
                  <a:pt x="54805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66" name="Google Shape;2166;p51"/>
          <p:cNvSpPr/>
          <p:nvPr/>
        </p:nvSpPr>
        <p:spPr>
          <a:xfrm>
            <a:off x="4990680" y="2198947"/>
            <a:ext cx="144717" cy="76341"/>
          </a:xfrm>
          <a:custGeom>
            <a:avLst/>
            <a:gdLst/>
            <a:ahLst/>
            <a:cxnLst/>
            <a:rect l="l" t="t" r="r" b="b"/>
            <a:pathLst>
              <a:path w="13408" h="7073" extrusionOk="0">
                <a:moveTo>
                  <a:pt x="6682" y="0"/>
                </a:moveTo>
                <a:cubicBezTo>
                  <a:pt x="5121" y="0"/>
                  <a:pt x="3561" y="346"/>
                  <a:pt x="2370" y="1036"/>
                </a:cubicBezTo>
                <a:cubicBezTo>
                  <a:pt x="1" y="2417"/>
                  <a:pt x="13" y="4656"/>
                  <a:pt x="2406" y="6037"/>
                </a:cubicBezTo>
                <a:cubicBezTo>
                  <a:pt x="3597" y="6727"/>
                  <a:pt x="5159" y="7073"/>
                  <a:pt x="6720" y="7073"/>
                </a:cubicBezTo>
                <a:cubicBezTo>
                  <a:pt x="8282" y="7073"/>
                  <a:pt x="9841" y="6727"/>
                  <a:pt x="11026" y="6037"/>
                </a:cubicBezTo>
                <a:cubicBezTo>
                  <a:pt x="13407" y="4656"/>
                  <a:pt x="13395" y="2417"/>
                  <a:pt x="11002" y="1036"/>
                </a:cubicBezTo>
                <a:cubicBezTo>
                  <a:pt x="9806" y="346"/>
                  <a:pt x="8243" y="0"/>
                  <a:pt x="668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8" name="Google Shape;2168;p51"/>
          <p:cNvSpPr/>
          <p:nvPr/>
        </p:nvSpPr>
        <p:spPr>
          <a:xfrm>
            <a:off x="6547081" y="4108096"/>
            <a:ext cx="1174185" cy="680078"/>
          </a:xfrm>
          <a:custGeom>
            <a:avLst/>
            <a:gdLst/>
            <a:ahLst/>
            <a:cxnLst/>
            <a:rect l="l" t="t" r="r" b="b"/>
            <a:pathLst>
              <a:path w="108788" h="63009" extrusionOk="0">
                <a:moveTo>
                  <a:pt x="54222" y="0"/>
                </a:moveTo>
                <a:lnTo>
                  <a:pt x="1" y="31504"/>
                </a:lnTo>
                <a:lnTo>
                  <a:pt x="54567" y="63008"/>
                </a:lnTo>
                <a:lnTo>
                  <a:pt x="108788" y="31504"/>
                </a:lnTo>
                <a:lnTo>
                  <a:pt x="54222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69" name="Google Shape;2169;p51"/>
          <p:cNvSpPr/>
          <p:nvPr/>
        </p:nvSpPr>
        <p:spPr>
          <a:xfrm>
            <a:off x="6739590" y="4424149"/>
            <a:ext cx="144447" cy="76179"/>
          </a:xfrm>
          <a:custGeom>
            <a:avLst/>
            <a:gdLst/>
            <a:ahLst/>
            <a:cxnLst/>
            <a:rect l="l" t="t" r="r" b="b"/>
            <a:pathLst>
              <a:path w="13383" h="7058" extrusionOk="0">
                <a:moveTo>
                  <a:pt x="6681" y="0"/>
                </a:moveTo>
                <a:cubicBezTo>
                  <a:pt x="5118" y="0"/>
                  <a:pt x="3557" y="346"/>
                  <a:pt x="2369" y="1032"/>
                </a:cubicBezTo>
                <a:cubicBezTo>
                  <a:pt x="0" y="2413"/>
                  <a:pt x="12" y="4651"/>
                  <a:pt x="2405" y="6032"/>
                </a:cubicBezTo>
                <a:cubicBezTo>
                  <a:pt x="3593" y="6715"/>
                  <a:pt x="5149" y="7058"/>
                  <a:pt x="6704" y="7058"/>
                </a:cubicBezTo>
                <a:cubicBezTo>
                  <a:pt x="8265" y="7058"/>
                  <a:pt x="9826" y="6712"/>
                  <a:pt x="11013" y="6020"/>
                </a:cubicBezTo>
                <a:cubicBezTo>
                  <a:pt x="13383" y="4651"/>
                  <a:pt x="13371" y="2413"/>
                  <a:pt x="10990" y="1032"/>
                </a:cubicBezTo>
                <a:cubicBezTo>
                  <a:pt x="9796" y="343"/>
                  <a:pt x="8237" y="0"/>
                  <a:pt x="668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0" name="Google Shape;2170;p51"/>
          <p:cNvSpPr/>
          <p:nvPr/>
        </p:nvSpPr>
        <p:spPr>
          <a:xfrm>
            <a:off x="7062006" y="4410096"/>
            <a:ext cx="144459" cy="76115"/>
          </a:xfrm>
          <a:custGeom>
            <a:avLst/>
            <a:gdLst/>
            <a:ahLst/>
            <a:cxnLst/>
            <a:rect l="l" t="t" r="r" b="b"/>
            <a:pathLst>
              <a:path w="13384" h="7052" extrusionOk="0">
                <a:moveTo>
                  <a:pt x="6664" y="0"/>
                </a:moveTo>
                <a:cubicBezTo>
                  <a:pt x="5106" y="0"/>
                  <a:pt x="3549" y="345"/>
                  <a:pt x="2358" y="1036"/>
                </a:cubicBezTo>
                <a:cubicBezTo>
                  <a:pt x="1" y="2417"/>
                  <a:pt x="13" y="4643"/>
                  <a:pt x="2394" y="6025"/>
                </a:cubicBezTo>
                <a:cubicBezTo>
                  <a:pt x="3591" y="6709"/>
                  <a:pt x="5150" y="7052"/>
                  <a:pt x="6707" y="7052"/>
                </a:cubicBezTo>
                <a:cubicBezTo>
                  <a:pt x="8264" y="7052"/>
                  <a:pt x="9818" y="6709"/>
                  <a:pt x="11002" y="6025"/>
                </a:cubicBezTo>
                <a:cubicBezTo>
                  <a:pt x="13383" y="4643"/>
                  <a:pt x="13360" y="2417"/>
                  <a:pt x="10978" y="1036"/>
                </a:cubicBezTo>
                <a:cubicBezTo>
                  <a:pt x="9782" y="345"/>
                  <a:pt x="8222" y="0"/>
                  <a:pt x="666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1" name="Google Shape;2171;p51"/>
          <p:cNvSpPr/>
          <p:nvPr/>
        </p:nvSpPr>
        <p:spPr>
          <a:xfrm>
            <a:off x="7384307" y="4396054"/>
            <a:ext cx="144459" cy="76115"/>
          </a:xfrm>
          <a:custGeom>
            <a:avLst/>
            <a:gdLst/>
            <a:ahLst/>
            <a:cxnLst/>
            <a:rect l="l" t="t" r="r" b="b"/>
            <a:pathLst>
              <a:path w="13384" h="7052" extrusionOk="0">
                <a:moveTo>
                  <a:pt x="6670" y="0"/>
                </a:moveTo>
                <a:cubicBezTo>
                  <a:pt x="5111" y="0"/>
                  <a:pt x="3555" y="343"/>
                  <a:pt x="2370" y="1027"/>
                </a:cubicBezTo>
                <a:cubicBezTo>
                  <a:pt x="1" y="2408"/>
                  <a:pt x="13" y="4635"/>
                  <a:pt x="2394" y="6016"/>
                </a:cubicBezTo>
                <a:cubicBezTo>
                  <a:pt x="3590" y="6706"/>
                  <a:pt x="5150" y="7052"/>
                  <a:pt x="6708" y="7052"/>
                </a:cubicBezTo>
                <a:cubicBezTo>
                  <a:pt x="8267" y="7052"/>
                  <a:pt x="9823" y="6706"/>
                  <a:pt x="11014" y="6016"/>
                </a:cubicBezTo>
                <a:cubicBezTo>
                  <a:pt x="13383" y="4635"/>
                  <a:pt x="13371" y="2408"/>
                  <a:pt x="10978" y="1027"/>
                </a:cubicBezTo>
                <a:cubicBezTo>
                  <a:pt x="9788" y="343"/>
                  <a:pt x="8228" y="0"/>
                  <a:pt x="667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2" name="Google Shape;2172;p51"/>
          <p:cNvSpPr/>
          <p:nvPr/>
        </p:nvSpPr>
        <p:spPr>
          <a:xfrm>
            <a:off x="7134108" y="4448129"/>
            <a:ext cx="587157" cy="1023058"/>
          </a:xfrm>
          <a:custGeom>
            <a:avLst/>
            <a:gdLst/>
            <a:ahLst/>
            <a:cxnLst/>
            <a:rect l="l" t="t" r="r" b="b"/>
            <a:pathLst>
              <a:path w="54400" h="94786" extrusionOk="0">
                <a:moveTo>
                  <a:pt x="54400" y="0"/>
                </a:moveTo>
                <a:lnTo>
                  <a:pt x="179" y="31504"/>
                </a:lnTo>
                <a:lnTo>
                  <a:pt x="0" y="94786"/>
                </a:lnTo>
                <a:lnTo>
                  <a:pt x="54221" y="63282"/>
                </a:lnTo>
                <a:lnTo>
                  <a:pt x="5440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73" name="Google Shape;2173;p51"/>
          <p:cNvSpPr/>
          <p:nvPr/>
        </p:nvSpPr>
        <p:spPr>
          <a:xfrm>
            <a:off x="7529306" y="5013182"/>
            <a:ext cx="92759" cy="119968"/>
          </a:xfrm>
          <a:custGeom>
            <a:avLst/>
            <a:gdLst/>
            <a:ahLst/>
            <a:cxnLst/>
            <a:rect l="l" t="t" r="r" b="b"/>
            <a:pathLst>
              <a:path w="8594" h="11115" extrusionOk="0">
                <a:moveTo>
                  <a:pt x="6236" y="1"/>
                </a:moveTo>
                <a:cubicBezTo>
                  <a:pt x="5657" y="1"/>
                  <a:pt x="5002" y="192"/>
                  <a:pt x="4307" y="595"/>
                </a:cubicBezTo>
                <a:cubicBezTo>
                  <a:pt x="1938" y="1976"/>
                  <a:pt x="21" y="5310"/>
                  <a:pt x="9" y="8060"/>
                </a:cubicBezTo>
                <a:cubicBezTo>
                  <a:pt x="0" y="9999"/>
                  <a:pt x="959" y="11115"/>
                  <a:pt x="2360" y="11115"/>
                </a:cubicBezTo>
                <a:cubicBezTo>
                  <a:pt x="2938" y="11115"/>
                  <a:pt x="3591" y="10925"/>
                  <a:pt x="4283" y="10525"/>
                </a:cubicBezTo>
                <a:cubicBezTo>
                  <a:pt x="6653" y="9144"/>
                  <a:pt x="8581" y="5810"/>
                  <a:pt x="8593" y="3072"/>
                </a:cubicBezTo>
                <a:cubicBezTo>
                  <a:pt x="8593" y="1125"/>
                  <a:pt x="7638" y="1"/>
                  <a:pt x="623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4" name="Google Shape;2174;p51"/>
          <p:cNvSpPr/>
          <p:nvPr/>
        </p:nvSpPr>
        <p:spPr>
          <a:xfrm>
            <a:off x="7530459" y="4613485"/>
            <a:ext cx="92759" cy="119979"/>
          </a:xfrm>
          <a:custGeom>
            <a:avLst/>
            <a:gdLst/>
            <a:ahLst/>
            <a:cxnLst/>
            <a:rect l="l" t="t" r="r" b="b"/>
            <a:pathLst>
              <a:path w="8594" h="11116" extrusionOk="0">
                <a:moveTo>
                  <a:pt x="6229" y="0"/>
                </a:moveTo>
                <a:cubicBezTo>
                  <a:pt x="5652" y="0"/>
                  <a:pt x="5000" y="189"/>
                  <a:pt x="4307" y="587"/>
                </a:cubicBezTo>
                <a:cubicBezTo>
                  <a:pt x="1938" y="1968"/>
                  <a:pt x="9" y="5314"/>
                  <a:pt x="9" y="8052"/>
                </a:cubicBezTo>
                <a:cubicBezTo>
                  <a:pt x="1" y="9994"/>
                  <a:pt x="962" y="11116"/>
                  <a:pt x="2367" y="11116"/>
                </a:cubicBezTo>
                <a:cubicBezTo>
                  <a:pt x="2943" y="11116"/>
                  <a:pt x="3594" y="10927"/>
                  <a:pt x="4283" y="10529"/>
                </a:cubicBezTo>
                <a:cubicBezTo>
                  <a:pt x="6653" y="9148"/>
                  <a:pt x="8582" y="5802"/>
                  <a:pt x="8593" y="3064"/>
                </a:cubicBezTo>
                <a:cubicBezTo>
                  <a:pt x="8593" y="1122"/>
                  <a:pt x="7636" y="0"/>
                  <a:pt x="622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5" name="Google Shape;2175;p51"/>
          <p:cNvSpPr/>
          <p:nvPr/>
        </p:nvSpPr>
        <p:spPr>
          <a:xfrm>
            <a:off x="7381350" y="4899712"/>
            <a:ext cx="92759" cy="119936"/>
          </a:xfrm>
          <a:custGeom>
            <a:avLst/>
            <a:gdLst/>
            <a:ahLst/>
            <a:cxnLst/>
            <a:rect l="l" t="t" r="r" b="b"/>
            <a:pathLst>
              <a:path w="8594" h="11112" extrusionOk="0">
                <a:moveTo>
                  <a:pt x="6235" y="0"/>
                </a:moveTo>
                <a:cubicBezTo>
                  <a:pt x="5657" y="0"/>
                  <a:pt x="5003" y="192"/>
                  <a:pt x="4311" y="595"/>
                </a:cubicBezTo>
                <a:cubicBezTo>
                  <a:pt x="1942" y="1964"/>
                  <a:pt x="13" y="5310"/>
                  <a:pt x="1" y="8048"/>
                </a:cubicBezTo>
                <a:cubicBezTo>
                  <a:pt x="1" y="9990"/>
                  <a:pt x="959" y="11112"/>
                  <a:pt x="2361" y="11112"/>
                </a:cubicBezTo>
                <a:cubicBezTo>
                  <a:pt x="2936" y="11112"/>
                  <a:pt x="3586" y="10923"/>
                  <a:pt x="4275" y="10525"/>
                </a:cubicBezTo>
                <a:cubicBezTo>
                  <a:pt x="6656" y="9144"/>
                  <a:pt x="8585" y="5810"/>
                  <a:pt x="8585" y="3060"/>
                </a:cubicBezTo>
                <a:cubicBezTo>
                  <a:pt x="8594" y="1121"/>
                  <a:pt x="7636" y="0"/>
                  <a:pt x="623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6" name="Google Shape;2176;p51"/>
          <p:cNvSpPr/>
          <p:nvPr/>
        </p:nvSpPr>
        <p:spPr>
          <a:xfrm>
            <a:off x="7232197" y="5185897"/>
            <a:ext cx="92747" cy="119892"/>
          </a:xfrm>
          <a:custGeom>
            <a:avLst/>
            <a:gdLst/>
            <a:ahLst/>
            <a:cxnLst/>
            <a:rect l="l" t="t" r="r" b="b"/>
            <a:pathLst>
              <a:path w="8593" h="11108" extrusionOk="0">
                <a:moveTo>
                  <a:pt x="6237" y="1"/>
                </a:moveTo>
                <a:cubicBezTo>
                  <a:pt x="5658" y="1"/>
                  <a:pt x="5003" y="192"/>
                  <a:pt x="4307" y="595"/>
                </a:cubicBezTo>
                <a:cubicBezTo>
                  <a:pt x="1937" y="1964"/>
                  <a:pt x="9" y="5298"/>
                  <a:pt x="9" y="8049"/>
                </a:cubicBezTo>
                <a:cubicBezTo>
                  <a:pt x="0" y="9987"/>
                  <a:pt x="958" y="11108"/>
                  <a:pt x="2359" y="11108"/>
                </a:cubicBezTo>
                <a:cubicBezTo>
                  <a:pt x="2937" y="11108"/>
                  <a:pt x="3591" y="10917"/>
                  <a:pt x="4283" y="10513"/>
                </a:cubicBezTo>
                <a:cubicBezTo>
                  <a:pt x="6652" y="9144"/>
                  <a:pt x="8581" y="5798"/>
                  <a:pt x="8593" y="3060"/>
                </a:cubicBezTo>
                <a:cubicBezTo>
                  <a:pt x="8593" y="1122"/>
                  <a:pt x="7639" y="1"/>
                  <a:pt x="6237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7" name="Google Shape;2177;p51"/>
          <p:cNvSpPr/>
          <p:nvPr/>
        </p:nvSpPr>
        <p:spPr>
          <a:xfrm>
            <a:off x="7233351" y="4786134"/>
            <a:ext cx="92759" cy="120000"/>
          </a:xfrm>
          <a:custGeom>
            <a:avLst/>
            <a:gdLst/>
            <a:ahLst/>
            <a:cxnLst/>
            <a:rect l="l" t="t" r="r" b="b"/>
            <a:pathLst>
              <a:path w="8594" h="11118" extrusionOk="0">
                <a:moveTo>
                  <a:pt x="6225" y="1"/>
                </a:moveTo>
                <a:cubicBezTo>
                  <a:pt x="5648" y="1"/>
                  <a:pt x="4997" y="191"/>
                  <a:pt x="4307" y="593"/>
                </a:cubicBezTo>
                <a:cubicBezTo>
                  <a:pt x="1938" y="1974"/>
                  <a:pt x="9" y="5320"/>
                  <a:pt x="9" y="8058"/>
                </a:cubicBezTo>
                <a:cubicBezTo>
                  <a:pt x="0" y="9996"/>
                  <a:pt x="958" y="11117"/>
                  <a:pt x="2359" y="11117"/>
                </a:cubicBezTo>
                <a:cubicBezTo>
                  <a:pt x="2937" y="11117"/>
                  <a:pt x="3591" y="10926"/>
                  <a:pt x="4283" y="10523"/>
                </a:cubicBezTo>
                <a:cubicBezTo>
                  <a:pt x="6652" y="9154"/>
                  <a:pt x="8581" y="5808"/>
                  <a:pt x="8593" y="3069"/>
                </a:cubicBezTo>
                <a:cubicBezTo>
                  <a:pt x="8593" y="1128"/>
                  <a:pt x="7630" y="1"/>
                  <a:pt x="622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8" name="Google Shape;2178;p51"/>
          <p:cNvSpPr/>
          <p:nvPr/>
        </p:nvSpPr>
        <p:spPr>
          <a:xfrm>
            <a:off x="6545147" y="4448129"/>
            <a:ext cx="590892" cy="1023058"/>
          </a:xfrm>
          <a:custGeom>
            <a:avLst/>
            <a:gdLst/>
            <a:ahLst/>
            <a:cxnLst/>
            <a:rect l="l" t="t" r="r" b="b"/>
            <a:pathLst>
              <a:path w="54746" h="94786" extrusionOk="0">
                <a:moveTo>
                  <a:pt x="180" y="0"/>
                </a:moveTo>
                <a:lnTo>
                  <a:pt x="1" y="63282"/>
                </a:lnTo>
                <a:lnTo>
                  <a:pt x="54567" y="94786"/>
                </a:lnTo>
                <a:lnTo>
                  <a:pt x="54746" y="31504"/>
                </a:lnTo>
                <a:lnTo>
                  <a:pt x="18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179" name="Google Shape;2179;p51"/>
          <p:cNvSpPr/>
          <p:nvPr/>
        </p:nvSpPr>
        <p:spPr>
          <a:xfrm>
            <a:off x="6942882" y="5185854"/>
            <a:ext cx="93439" cy="119936"/>
          </a:xfrm>
          <a:custGeom>
            <a:avLst/>
            <a:gdLst/>
            <a:ahLst/>
            <a:cxnLst/>
            <a:rect l="l" t="t" r="r" b="b"/>
            <a:pathLst>
              <a:path w="8657" h="11112" extrusionOk="0">
                <a:moveTo>
                  <a:pt x="2405" y="0"/>
                </a:moveTo>
                <a:cubicBezTo>
                  <a:pt x="989" y="0"/>
                  <a:pt x="13" y="1122"/>
                  <a:pt x="13" y="3064"/>
                </a:cubicBezTo>
                <a:cubicBezTo>
                  <a:pt x="1" y="5802"/>
                  <a:pt x="1930" y="9148"/>
                  <a:pt x="4311" y="10517"/>
                </a:cubicBezTo>
                <a:cubicBezTo>
                  <a:pt x="5010" y="10921"/>
                  <a:pt x="5671" y="11112"/>
                  <a:pt x="6256" y="11112"/>
                </a:cubicBezTo>
                <a:cubicBezTo>
                  <a:pt x="7672" y="11112"/>
                  <a:pt x="8645" y="9991"/>
                  <a:pt x="8645" y="8053"/>
                </a:cubicBezTo>
                <a:cubicBezTo>
                  <a:pt x="8657" y="5314"/>
                  <a:pt x="6728" y="1968"/>
                  <a:pt x="4335" y="587"/>
                </a:cubicBezTo>
                <a:cubicBezTo>
                  <a:pt x="3642" y="189"/>
                  <a:pt x="2987" y="0"/>
                  <a:pt x="240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80" name="Google Shape;2180;p51"/>
          <p:cNvSpPr/>
          <p:nvPr/>
        </p:nvSpPr>
        <p:spPr>
          <a:xfrm>
            <a:off x="6944037" y="4786134"/>
            <a:ext cx="93439" cy="120000"/>
          </a:xfrm>
          <a:custGeom>
            <a:avLst/>
            <a:gdLst/>
            <a:ahLst/>
            <a:cxnLst/>
            <a:rect l="l" t="t" r="r" b="b"/>
            <a:pathLst>
              <a:path w="8657" h="11118" extrusionOk="0">
                <a:moveTo>
                  <a:pt x="2404" y="1"/>
                </a:moveTo>
                <a:cubicBezTo>
                  <a:pt x="988" y="1"/>
                  <a:pt x="13" y="1128"/>
                  <a:pt x="13" y="3069"/>
                </a:cubicBezTo>
                <a:cubicBezTo>
                  <a:pt x="1" y="5808"/>
                  <a:pt x="1930" y="9154"/>
                  <a:pt x="4311" y="10523"/>
                </a:cubicBezTo>
                <a:cubicBezTo>
                  <a:pt x="5010" y="10926"/>
                  <a:pt x="5671" y="11117"/>
                  <a:pt x="6256" y="11117"/>
                </a:cubicBezTo>
                <a:cubicBezTo>
                  <a:pt x="7673" y="11117"/>
                  <a:pt x="8645" y="9996"/>
                  <a:pt x="8645" y="8058"/>
                </a:cubicBezTo>
                <a:cubicBezTo>
                  <a:pt x="8657" y="5320"/>
                  <a:pt x="6728" y="1974"/>
                  <a:pt x="4335" y="593"/>
                </a:cubicBezTo>
                <a:cubicBezTo>
                  <a:pt x="3642" y="191"/>
                  <a:pt x="2986" y="1"/>
                  <a:pt x="2404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81" name="Google Shape;2181;p51"/>
          <p:cNvSpPr/>
          <p:nvPr/>
        </p:nvSpPr>
        <p:spPr>
          <a:xfrm>
            <a:off x="6943399" y="4986026"/>
            <a:ext cx="93439" cy="119936"/>
          </a:xfrm>
          <a:custGeom>
            <a:avLst/>
            <a:gdLst/>
            <a:ahLst/>
            <a:cxnLst/>
            <a:rect l="l" t="t" r="r" b="b"/>
            <a:pathLst>
              <a:path w="8657" h="11112" extrusionOk="0">
                <a:moveTo>
                  <a:pt x="2417" y="0"/>
                </a:moveTo>
                <a:cubicBezTo>
                  <a:pt x="999" y="0"/>
                  <a:pt x="21" y="1122"/>
                  <a:pt x="12" y="3064"/>
                </a:cubicBezTo>
                <a:cubicBezTo>
                  <a:pt x="0" y="5802"/>
                  <a:pt x="1929" y="9148"/>
                  <a:pt x="4322" y="10517"/>
                </a:cubicBezTo>
                <a:cubicBezTo>
                  <a:pt x="5018" y="10921"/>
                  <a:pt x="5676" y="11112"/>
                  <a:pt x="6260" y="11112"/>
                </a:cubicBezTo>
                <a:cubicBezTo>
                  <a:pt x="7673" y="11112"/>
                  <a:pt x="8648" y="9991"/>
                  <a:pt x="8656" y="8052"/>
                </a:cubicBezTo>
                <a:cubicBezTo>
                  <a:pt x="8656" y="5314"/>
                  <a:pt x="6739" y="1968"/>
                  <a:pt x="4346" y="587"/>
                </a:cubicBezTo>
                <a:cubicBezTo>
                  <a:pt x="3653" y="189"/>
                  <a:pt x="2998" y="0"/>
                  <a:pt x="24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82" name="Google Shape;2182;p51"/>
          <p:cNvSpPr/>
          <p:nvPr/>
        </p:nvSpPr>
        <p:spPr>
          <a:xfrm>
            <a:off x="6643842" y="5013182"/>
            <a:ext cx="93439" cy="120022"/>
          </a:xfrm>
          <a:custGeom>
            <a:avLst/>
            <a:gdLst/>
            <a:ahLst/>
            <a:cxnLst/>
            <a:rect l="l" t="t" r="r" b="b"/>
            <a:pathLst>
              <a:path w="8657" h="11120" extrusionOk="0">
                <a:moveTo>
                  <a:pt x="2399" y="1"/>
                </a:moveTo>
                <a:cubicBezTo>
                  <a:pt x="985" y="1"/>
                  <a:pt x="9" y="1125"/>
                  <a:pt x="1" y="3072"/>
                </a:cubicBezTo>
                <a:cubicBezTo>
                  <a:pt x="1" y="5810"/>
                  <a:pt x="1930" y="9144"/>
                  <a:pt x="4311" y="10525"/>
                </a:cubicBezTo>
                <a:cubicBezTo>
                  <a:pt x="5010" y="10929"/>
                  <a:pt x="5670" y="11120"/>
                  <a:pt x="6254" y="11120"/>
                </a:cubicBezTo>
                <a:cubicBezTo>
                  <a:pt x="7668" y="11120"/>
                  <a:pt x="8636" y="9999"/>
                  <a:pt x="8645" y="8060"/>
                </a:cubicBezTo>
                <a:cubicBezTo>
                  <a:pt x="8657" y="5310"/>
                  <a:pt x="6728" y="1976"/>
                  <a:pt x="4335" y="595"/>
                </a:cubicBezTo>
                <a:cubicBezTo>
                  <a:pt x="3639" y="192"/>
                  <a:pt x="2982" y="1"/>
                  <a:pt x="239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83" name="Google Shape;2183;p51"/>
          <p:cNvSpPr/>
          <p:nvPr/>
        </p:nvSpPr>
        <p:spPr>
          <a:xfrm>
            <a:off x="6645008" y="4613485"/>
            <a:ext cx="93427" cy="120033"/>
          </a:xfrm>
          <a:custGeom>
            <a:avLst/>
            <a:gdLst/>
            <a:ahLst/>
            <a:cxnLst/>
            <a:rect l="l" t="t" r="r" b="b"/>
            <a:pathLst>
              <a:path w="8656" h="11121" extrusionOk="0">
                <a:moveTo>
                  <a:pt x="2404" y="0"/>
                </a:moveTo>
                <a:cubicBezTo>
                  <a:pt x="987" y="0"/>
                  <a:pt x="9" y="1122"/>
                  <a:pt x="0" y="3064"/>
                </a:cubicBezTo>
                <a:cubicBezTo>
                  <a:pt x="0" y="5802"/>
                  <a:pt x="1917" y="9148"/>
                  <a:pt x="4310" y="10529"/>
                </a:cubicBezTo>
                <a:cubicBezTo>
                  <a:pt x="5003" y="10931"/>
                  <a:pt x="5659" y="11121"/>
                  <a:pt x="6241" y="11121"/>
                </a:cubicBezTo>
                <a:cubicBezTo>
                  <a:pt x="7658" y="11121"/>
                  <a:pt x="8636" y="9993"/>
                  <a:pt x="8644" y="8052"/>
                </a:cubicBezTo>
                <a:cubicBezTo>
                  <a:pt x="8656" y="5314"/>
                  <a:pt x="6727" y="1968"/>
                  <a:pt x="4334" y="587"/>
                </a:cubicBezTo>
                <a:cubicBezTo>
                  <a:pt x="3641" y="189"/>
                  <a:pt x="2986" y="0"/>
                  <a:pt x="240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84" name="Google Shape;2184;p51"/>
          <p:cNvSpPr/>
          <p:nvPr/>
        </p:nvSpPr>
        <p:spPr>
          <a:xfrm>
            <a:off x="6644359" y="4813354"/>
            <a:ext cx="93439" cy="120022"/>
          </a:xfrm>
          <a:custGeom>
            <a:avLst/>
            <a:gdLst/>
            <a:ahLst/>
            <a:cxnLst/>
            <a:rect l="l" t="t" r="r" b="b"/>
            <a:pathLst>
              <a:path w="8657" h="11120" extrusionOk="0">
                <a:moveTo>
                  <a:pt x="2404" y="0"/>
                </a:moveTo>
                <a:cubicBezTo>
                  <a:pt x="990" y="0"/>
                  <a:pt x="21" y="1121"/>
                  <a:pt x="12" y="3060"/>
                </a:cubicBezTo>
                <a:cubicBezTo>
                  <a:pt x="1" y="5810"/>
                  <a:pt x="1929" y="9144"/>
                  <a:pt x="4311" y="10525"/>
                </a:cubicBezTo>
                <a:cubicBezTo>
                  <a:pt x="5009" y="10928"/>
                  <a:pt x="5670" y="11119"/>
                  <a:pt x="6254" y="11119"/>
                </a:cubicBezTo>
                <a:cubicBezTo>
                  <a:pt x="7673" y="11119"/>
                  <a:pt x="8648" y="9996"/>
                  <a:pt x="8656" y="8048"/>
                </a:cubicBezTo>
                <a:cubicBezTo>
                  <a:pt x="8656" y="5310"/>
                  <a:pt x="6728" y="1976"/>
                  <a:pt x="4346" y="595"/>
                </a:cubicBezTo>
                <a:cubicBezTo>
                  <a:pt x="3647" y="192"/>
                  <a:pt x="2987" y="0"/>
                  <a:pt x="240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6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D62C775-2ABE-445F-88E7-3537CCE41E20}"/>
              </a:ext>
            </a:extLst>
          </p:cNvPr>
          <p:cNvSpPr txBox="1"/>
          <p:nvPr/>
        </p:nvSpPr>
        <p:spPr>
          <a:xfrm>
            <a:off x="1294757" y="2083213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7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0C7739F-BE47-4859-A880-880DA9A80CE8}"/>
              </a:ext>
            </a:extLst>
          </p:cNvPr>
          <p:cNvSpPr txBox="1"/>
          <p:nvPr/>
        </p:nvSpPr>
        <p:spPr>
          <a:xfrm>
            <a:off x="1325693" y="4396813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7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903C567-93DC-452D-A65B-81C178904034}"/>
              </a:ext>
            </a:extLst>
          </p:cNvPr>
          <p:cNvSpPr txBox="1"/>
          <p:nvPr/>
        </p:nvSpPr>
        <p:spPr>
          <a:xfrm>
            <a:off x="8556709" y="2050430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7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3B87CC1-5357-4481-BCBA-CF560EFE61B6}"/>
              </a:ext>
            </a:extLst>
          </p:cNvPr>
          <p:cNvSpPr txBox="1"/>
          <p:nvPr/>
        </p:nvSpPr>
        <p:spPr>
          <a:xfrm>
            <a:off x="8587646" y="4364030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73" name="Google Shape;1496;p40">
            <a:extLst>
              <a:ext uri="{FF2B5EF4-FFF2-40B4-BE49-F238E27FC236}">
                <a16:creationId xmlns:a16="http://schemas.microsoft.com/office/drawing/2014/main" id="{1A7F43E2-972E-463E-BA19-8CEC3BA70C03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58B2777F-75A9-4D14-BCCD-377B45F180B7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0" grpId="0" animBg="1"/>
      <p:bldP spid="71" grpId="0" animBg="1"/>
      <p:bldP spid="7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9" name="Google Shape;2419;p54"/>
          <p:cNvSpPr/>
          <p:nvPr/>
        </p:nvSpPr>
        <p:spPr>
          <a:xfrm>
            <a:off x="4177801" y="3748268"/>
            <a:ext cx="522841" cy="28"/>
          </a:xfrm>
          <a:custGeom>
            <a:avLst/>
            <a:gdLst/>
            <a:ahLst/>
            <a:cxnLst/>
            <a:rect l="l" t="t" r="r" b="b"/>
            <a:pathLst>
              <a:path w="18384" h="1" fill="none" extrusionOk="0">
                <a:moveTo>
                  <a:pt x="1" y="0"/>
                </a:moveTo>
                <a:lnTo>
                  <a:pt x="18384" y="0"/>
                </a:lnTo>
              </a:path>
            </a:pathLst>
          </a:custGeom>
          <a:noFill/>
          <a:ln w="1905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20" name="Google Shape;2420;p54"/>
          <p:cNvSpPr/>
          <p:nvPr/>
        </p:nvSpPr>
        <p:spPr>
          <a:xfrm>
            <a:off x="3577385" y="3408562"/>
            <a:ext cx="679441" cy="679441"/>
          </a:xfrm>
          <a:custGeom>
            <a:avLst/>
            <a:gdLst/>
            <a:ahLst/>
            <a:cxnLst/>
            <a:rect l="l" t="t" r="r" b="b"/>
            <a:pathLst>
              <a:path w="28314" h="28314" extrusionOk="0">
                <a:moveTo>
                  <a:pt x="14157" y="1"/>
                </a:moveTo>
                <a:cubicBezTo>
                  <a:pt x="6346" y="1"/>
                  <a:pt x="0" y="6347"/>
                  <a:pt x="0" y="14157"/>
                </a:cubicBezTo>
                <a:cubicBezTo>
                  <a:pt x="0" y="21979"/>
                  <a:pt x="6346" y="28314"/>
                  <a:pt x="14157" y="28314"/>
                </a:cubicBezTo>
                <a:cubicBezTo>
                  <a:pt x="21979" y="28314"/>
                  <a:pt x="28313" y="21979"/>
                  <a:pt x="28313" y="14157"/>
                </a:cubicBezTo>
                <a:cubicBezTo>
                  <a:pt x="28313" y="6347"/>
                  <a:pt x="21979" y="1"/>
                  <a:pt x="1415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22" name="Google Shape;2422;p54"/>
          <p:cNvSpPr/>
          <p:nvPr/>
        </p:nvSpPr>
        <p:spPr>
          <a:xfrm>
            <a:off x="7125678" y="4520417"/>
            <a:ext cx="806615" cy="810000"/>
          </a:xfrm>
          <a:custGeom>
            <a:avLst/>
            <a:gdLst/>
            <a:ahLst/>
            <a:cxnLst/>
            <a:rect l="l" t="t" r="r" b="b"/>
            <a:pathLst>
              <a:path w="28362" h="28481" fill="none" extrusionOk="0">
                <a:moveTo>
                  <a:pt x="1" y="1"/>
                </a:moveTo>
                <a:lnTo>
                  <a:pt x="12693" y="28480"/>
                </a:lnTo>
                <a:lnTo>
                  <a:pt x="28362" y="28480"/>
                </a:lnTo>
              </a:path>
            </a:pathLst>
          </a:custGeom>
          <a:noFill/>
          <a:ln w="1905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23" name="Google Shape;2423;p54"/>
          <p:cNvSpPr/>
          <p:nvPr/>
        </p:nvSpPr>
        <p:spPr>
          <a:xfrm>
            <a:off x="7946453" y="4990652"/>
            <a:ext cx="679441" cy="679441"/>
          </a:xfrm>
          <a:custGeom>
            <a:avLst/>
            <a:gdLst/>
            <a:ahLst/>
            <a:cxnLst/>
            <a:rect l="l" t="t" r="r" b="b"/>
            <a:pathLst>
              <a:path w="28314" h="28314" extrusionOk="0">
                <a:moveTo>
                  <a:pt x="14157" y="1"/>
                </a:moveTo>
                <a:cubicBezTo>
                  <a:pt x="6346" y="1"/>
                  <a:pt x="0" y="6335"/>
                  <a:pt x="0" y="14157"/>
                </a:cubicBezTo>
                <a:cubicBezTo>
                  <a:pt x="0" y="21968"/>
                  <a:pt x="6346" y="28314"/>
                  <a:pt x="14157" y="28314"/>
                </a:cubicBezTo>
                <a:cubicBezTo>
                  <a:pt x="21979" y="28314"/>
                  <a:pt x="28313" y="21968"/>
                  <a:pt x="28313" y="14157"/>
                </a:cubicBezTo>
                <a:cubicBezTo>
                  <a:pt x="28313" y="6335"/>
                  <a:pt x="21979" y="1"/>
                  <a:pt x="1415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25" name="Google Shape;2425;p54"/>
          <p:cNvSpPr/>
          <p:nvPr/>
        </p:nvSpPr>
        <p:spPr>
          <a:xfrm rot="10800000">
            <a:off x="7502602" y="3748267"/>
            <a:ext cx="522841" cy="28"/>
          </a:xfrm>
          <a:custGeom>
            <a:avLst/>
            <a:gdLst/>
            <a:ahLst/>
            <a:cxnLst/>
            <a:rect l="l" t="t" r="r" b="b"/>
            <a:pathLst>
              <a:path w="18384" h="1" fill="none" extrusionOk="0">
                <a:moveTo>
                  <a:pt x="1" y="0"/>
                </a:moveTo>
                <a:lnTo>
                  <a:pt x="18384" y="0"/>
                </a:lnTo>
              </a:path>
            </a:pathLst>
          </a:custGeom>
          <a:noFill/>
          <a:ln w="1905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26" name="Google Shape;2426;p54"/>
          <p:cNvSpPr/>
          <p:nvPr/>
        </p:nvSpPr>
        <p:spPr>
          <a:xfrm rot="10800000">
            <a:off x="7942045" y="3404219"/>
            <a:ext cx="688124" cy="688124"/>
          </a:xfrm>
          <a:custGeom>
            <a:avLst/>
            <a:gdLst/>
            <a:ahLst/>
            <a:cxnLst/>
            <a:rect l="l" t="t" r="r" b="b"/>
            <a:pathLst>
              <a:path w="28314" h="28314" extrusionOk="0">
                <a:moveTo>
                  <a:pt x="14157" y="1"/>
                </a:moveTo>
                <a:cubicBezTo>
                  <a:pt x="6346" y="1"/>
                  <a:pt x="0" y="6347"/>
                  <a:pt x="0" y="14157"/>
                </a:cubicBezTo>
                <a:cubicBezTo>
                  <a:pt x="0" y="21979"/>
                  <a:pt x="6346" y="28314"/>
                  <a:pt x="14157" y="28314"/>
                </a:cubicBezTo>
                <a:cubicBezTo>
                  <a:pt x="21979" y="28314"/>
                  <a:pt x="28313" y="21979"/>
                  <a:pt x="28313" y="14157"/>
                </a:cubicBezTo>
                <a:cubicBezTo>
                  <a:pt x="28313" y="6347"/>
                  <a:pt x="21979" y="1"/>
                  <a:pt x="1415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28" name="Google Shape;2428;p54"/>
          <p:cNvSpPr/>
          <p:nvPr/>
        </p:nvSpPr>
        <p:spPr>
          <a:xfrm rot="10800000" flipH="1">
            <a:off x="7125678" y="2068365"/>
            <a:ext cx="806615" cy="810000"/>
          </a:xfrm>
          <a:custGeom>
            <a:avLst/>
            <a:gdLst/>
            <a:ahLst/>
            <a:cxnLst/>
            <a:rect l="l" t="t" r="r" b="b"/>
            <a:pathLst>
              <a:path w="28362" h="28481" fill="none" extrusionOk="0">
                <a:moveTo>
                  <a:pt x="1" y="1"/>
                </a:moveTo>
                <a:lnTo>
                  <a:pt x="12693" y="28480"/>
                </a:lnTo>
                <a:lnTo>
                  <a:pt x="28362" y="28480"/>
                </a:lnTo>
              </a:path>
            </a:pathLst>
          </a:custGeom>
          <a:noFill/>
          <a:ln w="1905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29" name="Google Shape;2429;p54"/>
          <p:cNvSpPr/>
          <p:nvPr/>
        </p:nvSpPr>
        <p:spPr>
          <a:xfrm rot="10800000" flipH="1">
            <a:off x="7946468" y="1728720"/>
            <a:ext cx="679347" cy="679346"/>
          </a:xfrm>
          <a:custGeom>
            <a:avLst/>
            <a:gdLst/>
            <a:ahLst/>
            <a:cxnLst/>
            <a:rect l="l" t="t" r="r" b="b"/>
            <a:pathLst>
              <a:path w="28314" h="28314" extrusionOk="0">
                <a:moveTo>
                  <a:pt x="14157" y="1"/>
                </a:moveTo>
                <a:cubicBezTo>
                  <a:pt x="6346" y="1"/>
                  <a:pt x="0" y="6335"/>
                  <a:pt x="0" y="14157"/>
                </a:cubicBezTo>
                <a:cubicBezTo>
                  <a:pt x="0" y="21968"/>
                  <a:pt x="6346" y="28314"/>
                  <a:pt x="14157" y="28314"/>
                </a:cubicBezTo>
                <a:cubicBezTo>
                  <a:pt x="21979" y="28314"/>
                  <a:pt x="28313" y="21968"/>
                  <a:pt x="28313" y="14157"/>
                </a:cubicBezTo>
                <a:cubicBezTo>
                  <a:pt x="28313" y="6335"/>
                  <a:pt x="21979" y="1"/>
                  <a:pt x="1415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31" name="Google Shape;2431;p54"/>
          <p:cNvSpPr/>
          <p:nvPr/>
        </p:nvSpPr>
        <p:spPr>
          <a:xfrm flipH="1">
            <a:off x="4270965" y="4520416"/>
            <a:ext cx="806615" cy="810000"/>
          </a:xfrm>
          <a:custGeom>
            <a:avLst/>
            <a:gdLst/>
            <a:ahLst/>
            <a:cxnLst/>
            <a:rect l="l" t="t" r="r" b="b"/>
            <a:pathLst>
              <a:path w="28362" h="28481" fill="none" extrusionOk="0">
                <a:moveTo>
                  <a:pt x="1" y="1"/>
                </a:moveTo>
                <a:lnTo>
                  <a:pt x="12693" y="28480"/>
                </a:lnTo>
                <a:lnTo>
                  <a:pt x="28362" y="28480"/>
                </a:lnTo>
              </a:path>
            </a:pathLst>
          </a:custGeom>
          <a:noFill/>
          <a:ln w="1905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32" name="Google Shape;2432;p54"/>
          <p:cNvSpPr/>
          <p:nvPr/>
        </p:nvSpPr>
        <p:spPr>
          <a:xfrm flipH="1">
            <a:off x="3577394" y="4990664"/>
            <a:ext cx="679441" cy="679442"/>
          </a:xfrm>
          <a:custGeom>
            <a:avLst/>
            <a:gdLst/>
            <a:ahLst/>
            <a:cxnLst/>
            <a:rect l="l" t="t" r="r" b="b"/>
            <a:pathLst>
              <a:path w="28314" h="28314" extrusionOk="0">
                <a:moveTo>
                  <a:pt x="14157" y="1"/>
                </a:moveTo>
                <a:cubicBezTo>
                  <a:pt x="6346" y="1"/>
                  <a:pt x="0" y="6335"/>
                  <a:pt x="0" y="14157"/>
                </a:cubicBezTo>
                <a:cubicBezTo>
                  <a:pt x="0" y="21968"/>
                  <a:pt x="6346" y="28314"/>
                  <a:pt x="14157" y="28314"/>
                </a:cubicBezTo>
                <a:cubicBezTo>
                  <a:pt x="21979" y="28314"/>
                  <a:pt x="28313" y="21968"/>
                  <a:pt x="28313" y="14157"/>
                </a:cubicBezTo>
                <a:cubicBezTo>
                  <a:pt x="28313" y="6335"/>
                  <a:pt x="21979" y="1"/>
                  <a:pt x="1415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34" name="Google Shape;2434;p54"/>
          <p:cNvSpPr/>
          <p:nvPr/>
        </p:nvSpPr>
        <p:spPr>
          <a:xfrm rot="10800000">
            <a:off x="4270965" y="2068367"/>
            <a:ext cx="806615" cy="810000"/>
          </a:xfrm>
          <a:custGeom>
            <a:avLst/>
            <a:gdLst/>
            <a:ahLst/>
            <a:cxnLst/>
            <a:rect l="l" t="t" r="r" b="b"/>
            <a:pathLst>
              <a:path w="28362" h="28481" fill="none" extrusionOk="0">
                <a:moveTo>
                  <a:pt x="1" y="1"/>
                </a:moveTo>
                <a:lnTo>
                  <a:pt x="12693" y="28480"/>
                </a:lnTo>
                <a:lnTo>
                  <a:pt x="28362" y="28480"/>
                </a:lnTo>
              </a:path>
            </a:pathLst>
          </a:custGeom>
          <a:noFill/>
          <a:ln w="1905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35" name="Google Shape;2435;p54"/>
          <p:cNvSpPr/>
          <p:nvPr/>
        </p:nvSpPr>
        <p:spPr>
          <a:xfrm rot="10800000">
            <a:off x="3577361" y="1728660"/>
            <a:ext cx="679441" cy="679442"/>
          </a:xfrm>
          <a:custGeom>
            <a:avLst/>
            <a:gdLst/>
            <a:ahLst/>
            <a:cxnLst/>
            <a:rect l="l" t="t" r="r" b="b"/>
            <a:pathLst>
              <a:path w="28314" h="28314" extrusionOk="0">
                <a:moveTo>
                  <a:pt x="14157" y="1"/>
                </a:moveTo>
                <a:cubicBezTo>
                  <a:pt x="6346" y="1"/>
                  <a:pt x="0" y="6335"/>
                  <a:pt x="0" y="14157"/>
                </a:cubicBezTo>
                <a:cubicBezTo>
                  <a:pt x="0" y="21968"/>
                  <a:pt x="6346" y="28314"/>
                  <a:pt x="14157" y="28314"/>
                </a:cubicBezTo>
                <a:cubicBezTo>
                  <a:pt x="21979" y="28314"/>
                  <a:pt x="28313" y="21968"/>
                  <a:pt x="28313" y="14157"/>
                </a:cubicBezTo>
                <a:cubicBezTo>
                  <a:pt x="28313" y="6335"/>
                  <a:pt x="21979" y="1"/>
                  <a:pt x="1415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55" name="Google Shape;2455;p54"/>
          <p:cNvSpPr/>
          <p:nvPr/>
        </p:nvSpPr>
        <p:spPr>
          <a:xfrm>
            <a:off x="4486783" y="2970297"/>
            <a:ext cx="1509188" cy="1671761"/>
          </a:xfrm>
          <a:custGeom>
            <a:avLst/>
            <a:gdLst/>
            <a:ahLst/>
            <a:cxnLst/>
            <a:rect l="l" t="t" r="r" b="b"/>
            <a:pathLst>
              <a:path w="66533" h="73700" extrusionOk="0">
                <a:moveTo>
                  <a:pt x="65033" y="0"/>
                </a:moveTo>
                <a:lnTo>
                  <a:pt x="370" y="19681"/>
                </a:lnTo>
                <a:lnTo>
                  <a:pt x="1" y="22181"/>
                </a:lnTo>
                <a:lnTo>
                  <a:pt x="50483" y="73700"/>
                </a:lnTo>
                <a:lnTo>
                  <a:pt x="53495" y="72783"/>
                </a:lnTo>
                <a:lnTo>
                  <a:pt x="66533" y="1715"/>
                </a:lnTo>
                <a:lnTo>
                  <a:pt x="6503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56" name="Google Shape;2456;p54"/>
          <p:cNvSpPr/>
          <p:nvPr/>
        </p:nvSpPr>
        <p:spPr>
          <a:xfrm>
            <a:off x="5370467" y="2994590"/>
            <a:ext cx="925299" cy="1636942"/>
          </a:xfrm>
          <a:custGeom>
            <a:avLst/>
            <a:gdLst/>
            <a:ahLst/>
            <a:cxnLst/>
            <a:rect l="l" t="t" r="r" b="b"/>
            <a:pathLst>
              <a:path w="40792" h="72165" extrusionOk="0">
                <a:moveTo>
                  <a:pt x="39518" y="45292"/>
                </a:moveTo>
                <a:lnTo>
                  <a:pt x="15205" y="71295"/>
                </a:lnTo>
                <a:cubicBezTo>
                  <a:pt x="14384" y="72164"/>
                  <a:pt x="12931" y="71831"/>
                  <a:pt x="12586" y="70688"/>
                </a:cubicBezTo>
                <a:lnTo>
                  <a:pt x="394" y="30624"/>
                </a:lnTo>
                <a:cubicBezTo>
                  <a:pt x="1" y="29314"/>
                  <a:pt x="334" y="27885"/>
                  <a:pt x="1275" y="26873"/>
                </a:cubicBezTo>
                <a:lnTo>
                  <a:pt x="25587" y="870"/>
                </a:lnTo>
                <a:cubicBezTo>
                  <a:pt x="26397" y="1"/>
                  <a:pt x="27861" y="334"/>
                  <a:pt x="28207" y="1489"/>
                </a:cubicBezTo>
                <a:lnTo>
                  <a:pt x="40387" y="41542"/>
                </a:lnTo>
                <a:cubicBezTo>
                  <a:pt x="40792" y="42851"/>
                  <a:pt x="40458" y="44280"/>
                  <a:pt x="39518" y="45292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DBDBDB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57" name="Google Shape;2457;p54"/>
          <p:cNvSpPr/>
          <p:nvPr/>
        </p:nvSpPr>
        <p:spPr>
          <a:xfrm>
            <a:off x="4479502" y="3440751"/>
            <a:ext cx="1184273" cy="1207796"/>
          </a:xfrm>
          <a:custGeom>
            <a:avLst/>
            <a:gdLst/>
            <a:ahLst/>
            <a:cxnLst/>
            <a:rect l="l" t="t" r="r" b="b"/>
            <a:pathLst>
              <a:path w="52209" h="53246" extrusionOk="0">
                <a:moveTo>
                  <a:pt x="15347" y="44923"/>
                </a:moveTo>
                <a:lnTo>
                  <a:pt x="50018" y="52984"/>
                </a:lnTo>
                <a:cubicBezTo>
                  <a:pt x="51185" y="53245"/>
                  <a:pt x="52209" y="52162"/>
                  <a:pt x="51864" y="51019"/>
                </a:cubicBezTo>
                <a:lnTo>
                  <a:pt x="39672" y="10955"/>
                </a:lnTo>
                <a:cubicBezTo>
                  <a:pt x="39279" y="9645"/>
                  <a:pt x="38207" y="8645"/>
                  <a:pt x="36862" y="8323"/>
                </a:cubicBezTo>
                <a:lnTo>
                  <a:pt x="2191" y="275"/>
                </a:lnTo>
                <a:cubicBezTo>
                  <a:pt x="1024" y="1"/>
                  <a:pt x="0" y="1096"/>
                  <a:pt x="345" y="2239"/>
                </a:cubicBezTo>
                <a:lnTo>
                  <a:pt x="12537" y="42292"/>
                </a:lnTo>
                <a:cubicBezTo>
                  <a:pt x="12930" y="43601"/>
                  <a:pt x="14002" y="44613"/>
                  <a:pt x="15347" y="44923"/>
                </a:cubicBezTo>
                <a:close/>
              </a:path>
            </a:pathLst>
          </a:custGeom>
          <a:gradFill>
            <a:gsLst>
              <a:gs pos="0">
                <a:srgbClr val="DBDBDB"/>
              </a:gs>
              <a:gs pos="100000">
                <a:srgbClr val="FFFFFF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58" name="Google Shape;2458;p54"/>
          <p:cNvSpPr/>
          <p:nvPr/>
        </p:nvSpPr>
        <p:spPr>
          <a:xfrm>
            <a:off x="4487873" y="2766915"/>
            <a:ext cx="1486233" cy="869134"/>
          </a:xfrm>
          <a:custGeom>
            <a:avLst/>
            <a:gdLst/>
            <a:ahLst/>
            <a:cxnLst/>
            <a:rect l="l" t="t" r="r" b="b"/>
            <a:pathLst>
              <a:path w="65521" h="38316" extrusionOk="0">
                <a:moveTo>
                  <a:pt x="643" y="27826"/>
                </a:moveTo>
                <a:lnTo>
                  <a:pt x="25087" y="1691"/>
                </a:lnTo>
                <a:cubicBezTo>
                  <a:pt x="26194" y="501"/>
                  <a:pt x="27837" y="1"/>
                  <a:pt x="29421" y="370"/>
                </a:cubicBezTo>
                <a:lnTo>
                  <a:pt x="64270" y="8466"/>
                </a:lnTo>
                <a:cubicBezTo>
                  <a:pt x="65187" y="8680"/>
                  <a:pt x="65520" y="9812"/>
                  <a:pt x="64877" y="10490"/>
                </a:cubicBezTo>
                <a:lnTo>
                  <a:pt x="40446" y="36624"/>
                </a:lnTo>
                <a:cubicBezTo>
                  <a:pt x="39338" y="37815"/>
                  <a:pt x="37683" y="38315"/>
                  <a:pt x="36112" y="37946"/>
                </a:cubicBezTo>
                <a:lnTo>
                  <a:pt x="1262" y="29850"/>
                </a:lnTo>
                <a:cubicBezTo>
                  <a:pt x="345" y="29635"/>
                  <a:pt x="0" y="28504"/>
                  <a:pt x="643" y="27826"/>
                </a:cubicBezTo>
                <a:close/>
              </a:path>
            </a:pathLst>
          </a:custGeom>
          <a:gradFill>
            <a:gsLst>
              <a:gs pos="0">
                <a:srgbClr val="F3F3F3"/>
              </a:gs>
              <a:gs pos="100000">
                <a:srgbClr val="D9D9D9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59" name="Google Shape;2459;p54"/>
          <p:cNvSpPr/>
          <p:nvPr/>
        </p:nvSpPr>
        <p:spPr>
          <a:xfrm>
            <a:off x="5055030" y="3067631"/>
            <a:ext cx="316817" cy="163728"/>
          </a:xfrm>
          <a:custGeom>
            <a:avLst/>
            <a:gdLst/>
            <a:ahLst/>
            <a:cxnLst/>
            <a:rect l="l" t="t" r="r" b="b"/>
            <a:pathLst>
              <a:path w="13967" h="7218" extrusionOk="0">
                <a:moveTo>
                  <a:pt x="8220" y="0"/>
                </a:moveTo>
                <a:cubicBezTo>
                  <a:pt x="5761" y="0"/>
                  <a:pt x="3137" y="918"/>
                  <a:pt x="1751" y="2389"/>
                </a:cubicBezTo>
                <a:cubicBezTo>
                  <a:pt x="0" y="4270"/>
                  <a:pt x="917" y="6330"/>
                  <a:pt x="3810" y="7008"/>
                </a:cubicBezTo>
                <a:cubicBezTo>
                  <a:pt x="4425" y="7150"/>
                  <a:pt x="5080" y="7218"/>
                  <a:pt x="5747" y="7218"/>
                </a:cubicBezTo>
                <a:cubicBezTo>
                  <a:pt x="8210" y="7218"/>
                  <a:pt x="10839" y="6300"/>
                  <a:pt x="12216" y="4829"/>
                </a:cubicBezTo>
                <a:cubicBezTo>
                  <a:pt x="13966" y="2948"/>
                  <a:pt x="13050" y="888"/>
                  <a:pt x="10156" y="210"/>
                </a:cubicBezTo>
                <a:cubicBezTo>
                  <a:pt x="9542" y="68"/>
                  <a:pt x="8887" y="0"/>
                  <a:pt x="822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0" name="Google Shape;2460;p54"/>
          <p:cNvSpPr/>
          <p:nvPr/>
        </p:nvSpPr>
        <p:spPr>
          <a:xfrm>
            <a:off x="5027447" y="3767871"/>
            <a:ext cx="239831" cy="237948"/>
          </a:xfrm>
          <a:custGeom>
            <a:avLst/>
            <a:gdLst/>
            <a:ahLst/>
            <a:cxnLst/>
            <a:rect l="l" t="t" r="r" b="b"/>
            <a:pathLst>
              <a:path w="10573" h="10490" extrusionOk="0">
                <a:moveTo>
                  <a:pt x="2852" y="1"/>
                </a:moveTo>
                <a:cubicBezTo>
                  <a:pt x="922" y="1"/>
                  <a:pt x="1" y="1706"/>
                  <a:pt x="752" y="4189"/>
                </a:cubicBezTo>
                <a:cubicBezTo>
                  <a:pt x="1621" y="7035"/>
                  <a:pt x="4348" y="9809"/>
                  <a:pt x="6848" y="10380"/>
                </a:cubicBezTo>
                <a:cubicBezTo>
                  <a:pt x="7163" y="10454"/>
                  <a:pt x="7459" y="10489"/>
                  <a:pt x="7734" y="10489"/>
                </a:cubicBezTo>
                <a:cubicBezTo>
                  <a:pt x="9649" y="10489"/>
                  <a:pt x="10572" y="8784"/>
                  <a:pt x="9813" y="6297"/>
                </a:cubicBezTo>
                <a:cubicBezTo>
                  <a:pt x="8955" y="3463"/>
                  <a:pt x="6229" y="689"/>
                  <a:pt x="3729" y="105"/>
                </a:cubicBezTo>
                <a:cubicBezTo>
                  <a:pt x="3417" y="35"/>
                  <a:pt x="3125" y="1"/>
                  <a:pt x="2852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1" name="Google Shape;2461;p54"/>
          <p:cNvSpPr/>
          <p:nvPr/>
        </p:nvSpPr>
        <p:spPr>
          <a:xfrm>
            <a:off x="4682906" y="3686777"/>
            <a:ext cx="239785" cy="237994"/>
          </a:xfrm>
          <a:custGeom>
            <a:avLst/>
            <a:gdLst/>
            <a:ahLst/>
            <a:cxnLst/>
            <a:rect l="l" t="t" r="r" b="b"/>
            <a:pathLst>
              <a:path w="10571" h="10492" extrusionOk="0">
                <a:moveTo>
                  <a:pt x="2842" y="0"/>
                </a:moveTo>
                <a:cubicBezTo>
                  <a:pt x="925" y="0"/>
                  <a:pt x="0" y="1714"/>
                  <a:pt x="761" y="4192"/>
                </a:cubicBezTo>
                <a:cubicBezTo>
                  <a:pt x="1618" y="7038"/>
                  <a:pt x="4344" y="9800"/>
                  <a:pt x="6857" y="10384"/>
                </a:cubicBezTo>
                <a:cubicBezTo>
                  <a:pt x="7170" y="10457"/>
                  <a:pt x="7465" y="10492"/>
                  <a:pt x="7739" y="10492"/>
                </a:cubicBezTo>
                <a:cubicBezTo>
                  <a:pt x="9654" y="10492"/>
                  <a:pt x="10571" y="8778"/>
                  <a:pt x="9821" y="6300"/>
                </a:cubicBezTo>
                <a:cubicBezTo>
                  <a:pt x="8952" y="3466"/>
                  <a:pt x="6225" y="692"/>
                  <a:pt x="3725" y="109"/>
                </a:cubicBezTo>
                <a:cubicBezTo>
                  <a:pt x="3412" y="35"/>
                  <a:pt x="3117" y="0"/>
                  <a:pt x="2842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2" name="Google Shape;2462;p54"/>
          <p:cNvSpPr/>
          <p:nvPr/>
        </p:nvSpPr>
        <p:spPr>
          <a:xfrm>
            <a:off x="5156583" y="4192075"/>
            <a:ext cx="239808" cy="238016"/>
          </a:xfrm>
          <a:custGeom>
            <a:avLst/>
            <a:gdLst/>
            <a:ahLst/>
            <a:cxnLst/>
            <a:rect l="l" t="t" r="r" b="b"/>
            <a:pathLst>
              <a:path w="10572" h="10493" extrusionOk="0">
                <a:moveTo>
                  <a:pt x="2833" y="1"/>
                </a:moveTo>
                <a:cubicBezTo>
                  <a:pt x="918" y="1"/>
                  <a:pt x="0" y="1714"/>
                  <a:pt x="750" y="4193"/>
                </a:cubicBezTo>
                <a:cubicBezTo>
                  <a:pt x="1619" y="7027"/>
                  <a:pt x="4346" y="9801"/>
                  <a:pt x="6846" y="10384"/>
                </a:cubicBezTo>
                <a:cubicBezTo>
                  <a:pt x="7159" y="10457"/>
                  <a:pt x="7454" y="10492"/>
                  <a:pt x="7729" y="10492"/>
                </a:cubicBezTo>
                <a:cubicBezTo>
                  <a:pt x="9646" y="10492"/>
                  <a:pt x="10571" y="8779"/>
                  <a:pt x="9811" y="6300"/>
                </a:cubicBezTo>
                <a:cubicBezTo>
                  <a:pt x="8954" y="3467"/>
                  <a:pt x="6215" y="692"/>
                  <a:pt x="3715" y="109"/>
                </a:cubicBezTo>
                <a:cubicBezTo>
                  <a:pt x="3402" y="36"/>
                  <a:pt x="3107" y="1"/>
                  <a:pt x="2833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3" name="Google Shape;2463;p54"/>
          <p:cNvSpPr/>
          <p:nvPr/>
        </p:nvSpPr>
        <p:spPr>
          <a:xfrm>
            <a:off x="4811997" y="4111049"/>
            <a:ext cx="239808" cy="238016"/>
          </a:xfrm>
          <a:custGeom>
            <a:avLst/>
            <a:gdLst/>
            <a:ahLst/>
            <a:cxnLst/>
            <a:rect l="l" t="t" r="r" b="b"/>
            <a:pathLst>
              <a:path w="10572" h="10493" extrusionOk="0">
                <a:moveTo>
                  <a:pt x="2843" y="1"/>
                </a:moveTo>
                <a:cubicBezTo>
                  <a:pt x="925" y="1"/>
                  <a:pt x="0" y="1714"/>
                  <a:pt x="761" y="4193"/>
                </a:cubicBezTo>
                <a:cubicBezTo>
                  <a:pt x="1618" y="7027"/>
                  <a:pt x="4344" y="9801"/>
                  <a:pt x="6845" y="10384"/>
                </a:cubicBezTo>
                <a:cubicBezTo>
                  <a:pt x="7160" y="10457"/>
                  <a:pt x="7456" y="10493"/>
                  <a:pt x="7731" y="10493"/>
                </a:cubicBezTo>
                <a:cubicBezTo>
                  <a:pt x="9654" y="10493"/>
                  <a:pt x="10571" y="8779"/>
                  <a:pt x="9821" y="6300"/>
                </a:cubicBezTo>
                <a:cubicBezTo>
                  <a:pt x="8952" y="3455"/>
                  <a:pt x="6226" y="693"/>
                  <a:pt x="3725" y="109"/>
                </a:cubicBezTo>
                <a:cubicBezTo>
                  <a:pt x="3412" y="36"/>
                  <a:pt x="3117" y="1"/>
                  <a:pt x="2843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4" name="Google Shape;2464;p54"/>
          <p:cNvSpPr/>
          <p:nvPr/>
        </p:nvSpPr>
        <p:spPr>
          <a:xfrm>
            <a:off x="5583558" y="3586584"/>
            <a:ext cx="183145" cy="279572"/>
          </a:xfrm>
          <a:custGeom>
            <a:avLst/>
            <a:gdLst/>
            <a:ahLst/>
            <a:cxnLst/>
            <a:rect l="l" t="t" r="r" b="b"/>
            <a:pathLst>
              <a:path w="8074" h="12325" extrusionOk="0">
                <a:moveTo>
                  <a:pt x="4481" y="1"/>
                </a:moveTo>
                <a:cubicBezTo>
                  <a:pt x="3817" y="1"/>
                  <a:pt x="3122" y="332"/>
                  <a:pt x="2477" y="1025"/>
                </a:cubicBezTo>
                <a:cubicBezTo>
                  <a:pt x="715" y="2906"/>
                  <a:pt x="1" y="6716"/>
                  <a:pt x="858" y="9562"/>
                </a:cubicBezTo>
                <a:cubicBezTo>
                  <a:pt x="1407" y="11352"/>
                  <a:pt x="2455" y="12324"/>
                  <a:pt x="3593" y="12324"/>
                </a:cubicBezTo>
                <a:cubicBezTo>
                  <a:pt x="4257" y="12324"/>
                  <a:pt x="4952" y="11993"/>
                  <a:pt x="5597" y="11300"/>
                </a:cubicBezTo>
                <a:cubicBezTo>
                  <a:pt x="7347" y="9419"/>
                  <a:pt x="8073" y="5597"/>
                  <a:pt x="7216" y="2763"/>
                </a:cubicBezTo>
                <a:cubicBezTo>
                  <a:pt x="6667" y="974"/>
                  <a:pt x="5620" y="1"/>
                  <a:pt x="4481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5" name="Google Shape;2465;p54"/>
          <p:cNvSpPr/>
          <p:nvPr/>
        </p:nvSpPr>
        <p:spPr>
          <a:xfrm>
            <a:off x="5824480" y="3327447"/>
            <a:ext cx="183123" cy="279436"/>
          </a:xfrm>
          <a:custGeom>
            <a:avLst/>
            <a:gdLst/>
            <a:ahLst/>
            <a:cxnLst/>
            <a:rect l="l" t="t" r="r" b="b"/>
            <a:pathLst>
              <a:path w="8073" h="12319" extrusionOk="0">
                <a:moveTo>
                  <a:pt x="4480" y="1"/>
                </a:moveTo>
                <a:cubicBezTo>
                  <a:pt x="3816" y="1"/>
                  <a:pt x="3121" y="331"/>
                  <a:pt x="2477" y="1019"/>
                </a:cubicBezTo>
                <a:cubicBezTo>
                  <a:pt x="715" y="2900"/>
                  <a:pt x="0" y="6722"/>
                  <a:pt x="857" y="9556"/>
                </a:cubicBezTo>
                <a:cubicBezTo>
                  <a:pt x="1406" y="11346"/>
                  <a:pt x="2454" y="12318"/>
                  <a:pt x="3592" y="12318"/>
                </a:cubicBezTo>
                <a:cubicBezTo>
                  <a:pt x="4256" y="12318"/>
                  <a:pt x="4951" y="11987"/>
                  <a:pt x="5596" y="11294"/>
                </a:cubicBezTo>
                <a:cubicBezTo>
                  <a:pt x="7358" y="9425"/>
                  <a:pt x="8073" y="5603"/>
                  <a:pt x="7215" y="2769"/>
                </a:cubicBezTo>
                <a:cubicBezTo>
                  <a:pt x="6666" y="972"/>
                  <a:pt x="5618" y="1"/>
                  <a:pt x="4480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6" name="Google Shape;2466;p54"/>
          <p:cNvSpPr/>
          <p:nvPr/>
        </p:nvSpPr>
        <p:spPr>
          <a:xfrm>
            <a:off x="5712400" y="4010880"/>
            <a:ext cx="183395" cy="279436"/>
          </a:xfrm>
          <a:custGeom>
            <a:avLst/>
            <a:gdLst/>
            <a:ahLst/>
            <a:cxnLst/>
            <a:rect l="l" t="t" r="r" b="b"/>
            <a:pathLst>
              <a:path w="8085" h="12319" extrusionOk="0">
                <a:moveTo>
                  <a:pt x="4489" y="1"/>
                </a:moveTo>
                <a:cubicBezTo>
                  <a:pt x="3824" y="1"/>
                  <a:pt x="3126" y="332"/>
                  <a:pt x="2477" y="1025"/>
                </a:cubicBezTo>
                <a:cubicBezTo>
                  <a:pt x="726" y="2894"/>
                  <a:pt x="0" y="6716"/>
                  <a:pt x="869" y="9550"/>
                </a:cubicBezTo>
                <a:cubicBezTo>
                  <a:pt x="1411" y="11347"/>
                  <a:pt x="2461" y="12318"/>
                  <a:pt x="3602" y="12318"/>
                </a:cubicBezTo>
                <a:cubicBezTo>
                  <a:pt x="4267" y="12318"/>
                  <a:pt x="4963" y="11988"/>
                  <a:pt x="5608" y="11300"/>
                </a:cubicBezTo>
                <a:cubicBezTo>
                  <a:pt x="7358" y="9419"/>
                  <a:pt x="8084" y="5597"/>
                  <a:pt x="7215" y="2763"/>
                </a:cubicBezTo>
                <a:cubicBezTo>
                  <a:pt x="6674" y="973"/>
                  <a:pt x="5629" y="1"/>
                  <a:pt x="4489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7" name="Google Shape;2467;p54"/>
          <p:cNvSpPr/>
          <p:nvPr/>
        </p:nvSpPr>
        <p:spPr>
          <a:xfrm>
            <a:off x="5953573" y="3751607"/>
            <a:ext cx="183123" cy="279572"/>
          </a:xfrm>
          <a:custGeom>
            <a:avLst/>
            <a:gdLst/>
            <a:ahLst/>
            <a:cxnLst/>
            <a:rect l="l" t="t" r="r" b="b"/>
            <a:pathLst>
              <a:path w="8073" h="12325" extrusionOk="0">
                <a:moveTo>
                  <a:pt x="4481" y="1"/>
                </a:moveTo>
                <a:cubicBezTo>
                  <a:pt x="3817" y="1"/>
                  <a:pt x="3122" y="332"/>
                  <a:pt x="2477" y="1025"/>
                </a:cubicBezTo>
                <a:cubicBezTo>
                  <a:pt x="715" y="2906"/>
                  <a:pt x="0" y="6728"/>
                  <a:pt x="858" y="9562"/>
                </a:cubicBezTo>
                <a:cubicBezTo>
                  <a:pt x="1407" y="11351"/>
                  <a:pt x="2454" y="12324"/>
                  <a:pt x="3593" y="12324"/>
                </a:cubicBezTo>
                <a:cubicBezTo>
                  <a:pt x="4257" y="12324"/>
                  <a:pt x="4952" y="11993"/>
                  <a:pt x="5596" y="11300"/>
                </a:cubicBezTo>
                <a:cubicBezTo>
                  <a:pt x="7347" y="9419"/>
                  <a:pt x="8073" y="5609"/>
                  <a:pt x="7216" y="2763"/>
                </a:cubicBezTo>
                <a:cubicBezTo>
                  <a:pt x="6667" y="973"/>
                  <a:pt x="5619" y="1"/>
                  <a:pt x="4481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68" name="Google Shape;2468;p54"/>
          <p:cNvSpPr/>
          <p:nvPr/>
        </p:nvSpPr>
        <p:spPr>
          <a:xfrm>
            <a:off x="5774781" y="3663233"/>
            <a:ext cx="183123" cy="279481"/>
          </a:xfrm>
          <a:custGeom>
            <a:avLst/>
            <a:gdLst/>
            <a:ahLst/>
            <a:cxnLst/>
            <a:rect l="l" t="t" r="r" b="b"/>
            <a:pathLst>
              <a:path w="8073" h="12321" extrusionOk="0">
                <a:moveTo>
                  <a:pt x="4485" y="0"/>
                </a:moveTo>
                <a:cubicBezTo>
                  <a:pt x="3820" y="0"/>
                  <a:pt x="3123" y="333"/>
                  <a:pt x="2477" y="1027"/>
                </a:cubicBezTo>
                <a:cubicBezTo>
                  <a:pt x="715" y="2897"/>
                  <a:pt x="0" y="6719"/>
                  <a:pt x="858" y="9552"/>
                </a:cubicBezTo>
                <a:cubicBezTo>
                  <a:pt x="1407" y="11350"/>
                  <a:pt x="2455" y="12321"/>
                  <a:pt x="3593" y="12321"/>
                </a:cubicBezTo>
                <a:cubicBezTo>
                  <a:pt x="4257" y="12321"/>
                  <a:pt x="4952" y="11991"/>
                  <a:pt x="5596" y="11303"/>
                </a:cubicBezTo>
                <a:cubicBezTo>
                  <a:pt x="7359" y="9421"/>
                  <a:pt x="8073" y="5599"/>
                  <a:pt x="7216" y="2766"/>
                </a:cubicBezTo>
                <a:cubicBezTo>
                  <a:pt x="6667" y="971"/>
                  <a:pt x="5622" y="0"/>
                  <a:pt x="4485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0" name="Google Shape;2470;p54"/>
          <p:cNvSpPr/>
          <p:nvPr/>
        </p:nvSpPr>
        <p:spPr>
          <a:xfrm>
            <a:off x="6215276" y="2949901"/>
            <a:ext cx="1494877" cy="1682287"/>
          </a:xfrm>
          <a:custGeom>
            <a:avLst/>
            <a:gdLst/>
            <a:ahLst/>
            <a:cxnLst/>
            <a:rect l="l" t="t" r="r" b="b"/>
            <a:pathLst>
              <a:path w="65902" h="74164" extrusionOk="0">
                <a:moveTo>
                  <a:pt x="1763" y="0"/>
                </a:moveTo>
                <a:lnTo>
                  <a:pt x="0" y="1810"/>
                </a:lnTo>
                <a:lnTo>
                  <a:pt x="10692" y="73152"/>
                </a:lnTo>
                <a:lnTo>
                  <a:pt x="13669" y="74164"/>
                </a:lnTo>
                <a:lnTo>
                  <a:pt x="65902" y="24241"/>
                </a:lnTo>
                <a:lnTo>
                  <a:pt x="65675" y="21967"/>
                </a:lnTo>
                <a:lnTo>
                  <a:pt x="176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1" name="Google Shape;2471;p54"/>
          <p:cNvSpPr/>
          <p:nvPr/>
        </p:nvSpPr>
        <p:spPr>
          <a:xfrm>
            <a:off x="6494264" y="3472212"/>
            <a:ext cx="1225081" cy="1166468"/>
          </a:xfrm>
          <a:custGeom>
            <a:avLst/>
            <a:gdLst/>
            <a:ahLst/>
            <a:cxnLst/>
            <a:rect l="l" t="t" r="r" b="b"/>
            <a:pathLst>
              <a:path w="54008" h="51424" extrusionOk="0">
                <a:moveTo>
                  <a:pt x="37100" y="44387"/>
                </a:moveTo>
                <a:lnTo>
                  <a:pt x="2156" y="51197"/>
                </a:lnTo>
                <a:cubicBezTo>
                  <a:pt x="977" y="51424"/>
                  <a:pt x="1" y="50293"/>
                  <a:pt x="394" y="49162"/>
                </a:cubicBezTo>
                <a:lnTo>
                  <a:pt x="14002" y="9573"/>
                </a:lnTo>
                <a:cubicBezTo>
                  <a:pt x="14443" y="8264"/>
                  <a:pt x="15550" y="7299"/>
                  <a:pt x="16907" y="7037"/>
                </a:cubicBezTo>
                <a:lnTo>
                  <a:pt x="51852" y="227"/>
                </a:lnTo>
                <a:cubicBezTo>
                  <a:pt x="53019" y="1"/>
                  <a:pt x="54007" y="1132"/>
                  <a:pt x="53614" y="2263"/>
                </a:cubicBezTo>
                <a:lnTo>
                  <a:pt x="40006" y="41851"/>
                </a:lnTo>
                <a:cubicBezTo>
                  <a:pt x="39553" y="43149"/>
                  <a:pt x="38446" y="44113"/>
                  <a:pt x="37100" y="44387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DBDBDB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2" name="Google Shape;2472;p54"/>
          <p:cNvSpPr/>
          <p:nvPr/>
        </p:nvSpPr>
        <p:spPr>
          <a:xfrm>
            <a:off x="5886321" y="2973922"/>
            <a:ext cx="935551" cy="1645586"/>
          </a:xfrm>
          <a:custGeom>
            <a:avLst/>
            <a:gdLst/>
            <a:ahLst/>
            <a:cxnLst/>
            <a:rect l="l" t="t" r="r" b="b"/>
            <a:pathLst>
              <a:path w="41244" h="72546" extrusionOk="0">
                <a:moveTo>
                  <a:pt x="1179" y="44792"/>
                </a:moveTo>
                <a:lnTo>
                  <a:pt x="24551" y="71640"/>
                </a:lnTo>
                <a:cubicBezTo>
                  <a:pt x="25337" y="72545"/>
                  <a:pt x="26802" y="72260"/>
                  <a:pt x="27195" y="71129"/>
                </a:cubicBezTo>
                <a:lnTo>
                  <a:pt x="40803" y="31540"/>
                </a:lnTo>
                <a:cubicBezTo>
                  <a:pt x="41244" y="30231"/>
                  <a:pt x="40970" y="28790"/>
                  <a:pt x="40065" y="27754"/>
                </a:cubicBezTo>
                <a:lnTo>
                  <a:pt x="16693" y="906"/>
                </a:lnTo>
                <a:cubicBezTo>
                  <a:pt x="15907" y="1"/>
                  <a:pt x="14443" y="286"/>
                  <a:pt x="14050" y="1418"/>
                </a:cubicBezTo>
                <a:lnTo>
                  <a:pt x="441" y="41006"/>
                </a:lnTo>
                <a:cubicBezTo>
                  <a:pt x="1" y="42315"/>
                  <a:pt x="274" y="43756"/>
                  <a:pt x="1179" y="44792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DBDBDB"/>
              </a:gs>
            </a:gsLst>
            <a:lin ang="10800025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3" name="Google Shape;2473;p54"/>
          <p:cNvSpPr/>
          <p:nvPr/>
        </p:nvSpPr>
        <p:spPr>
          <a:xfrm>
            <a:off x="6242543" y="2776781"/>
            <a:ext cx="1470037" cy="860470"/>
          </a:xfrm>
          <a:custGeom>
            <a:avLst/>
            <a:gdLst/>
            <a:ahLst/>
            <a:cxnLst/>
            <a:rect l="l" t="t" r="r" b="b"/>
            <a:pathLst>
              <a:path w="64807" h="37934" extrusionOk="0">
                <a:moveTo>
                  <a:pt x="1311" y="7156"/>
                </a:moveTo>
                <a:lnTo>
                  <a:pt x="36422" y="310"/>
                </a:lnTo>
                <a:cubicBezTo>
                  <a:pt x="38018" y="0"/>
                  <a:pt x="39649" y="560"/>
                  <a:pt x="40708" y="1786"/>
                </a:cubicBezTo>
                <a:lnTo>
                  <a:pt x="64188" y="28778"/>
                </a:lnTo>
                <a:cubicBezTo>
                  <a:pt x="64807" y="29492"/>
                  <a:pt x="64426" y="30599"/>
                  <a:pt x="63509" y="30778"/>
                </a:cubicBezTo>
                <a:lnTo>
                  <a:pt x="28385" y="37624"/>
                </a:lnTo>
                <a:cubicBezTo>
                  <a:pt x="26802" y="37933"/>
                  <a:pt x="25171" y="37374"/>
                  <a:pt x="24099" y="36159"/>
                </a:cubicBezTo>
                <a:lnTo>
                  <a:pt x="620" y="9168"/>
                </a:lnTo>
                <a:cubicBezTo>
                  <a:pt x="1" y="8454"/>
                  <a:pt x="382" y="7334"/>
                  <a:pt x="1311" y="7156"/>
                </a:cubicBezTo>
                <a:close/>
              </a:path>
            </a:pathLst>
          </a:custGeom>
          <a:gradFill>
            <a:gsLst>
              <a:gs pos="0">
                <a:srgbClr val="F3F3F3"/>
              </a:gs>
              <a:gs pos="100000">
                <a:srgbClr val="D9D9D9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4" name="Google Shape;2474;p54"/>
          <p:cNvSpPr/>
          <p:nvPr/>
        </p:nvSpPr>
        <p:spPr>
          <a:xfrm>
            <a:off x="6355440" y="3786560"/>
            <a:ext cx="182329" cy="280140"/>
          </a:xfrm>
          <a:custGeom>
            <a:avLst/>
            <a:gdLst/>
            <a:ahLst/>
            <a:cxnLst/>
            <a:rect l="l" t="t" r="r" b="b"/>
            <a:pathLst>
              <a:path w="8038" h="12350" extrusionOk="0">
                <a:moveTo>
                  <a:pt x="3724" y="0"/>
                </a:moveTo>
                <a:cubicBezTo>
                  <a:pt x="2612" y="0"/>
                  <a:pt x="1561" y="932"/>
                  <a:pt x="965" y="2669"/>
                </a:cubicBezTo>
                <a:cubicBezTo>
                  <a:pt x="1" y="5467"/>
                  <a:pt x="596" y="9312"/>
                  <a:pt x="2275" y="11253"/>
                </a:cubicBezTo>
                <a:cubicBezTo>
                  <a:pt x="2921" y="11994"/>
                  <a:pt x="3632" y="12350"/>
                  <a:pt x="4319" y="12350"/>
                </a:cubicBezTo>
                <a:cubicBezTo>
                  <a:pt x="5431" y="12350"/>
                  <a:pt x="6477" y="11418"/>
                  <a:pt x="7073" y="9681"/>
                </a:cubicBezTo>
                <a:cubicBezTo>
                  <a:pt x="8038" y="6883"/>
                  <a:pt x="7454" y="3038"/>
                  <a:pt x="5763" y="1097"/>
                </a:cubicBezTo>
                <a:cubicBezTo>
                  <a:pt x="5122" y="356"/>
                  <a:pt x="4412" y="0"/>
                  <a:pt x="3724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5" name="Google Shape;2475;p54"/>
          <p:cNvSpPr/>
          <p:nvPr/>
        </p:nvSpPr>
        <p:spPr>
          <a:xfrm>
            <a:off x="6123997" y="3518917"/>
            <a:ext cx="182307" cy="280140"/>
          </a:xfrm>
          <a:custGeom>
            <a:avLst/>
            <a:gdLst/>
            <a:ahLst/>
            <a:cxnLst/>
            <a:rect l="l" t="t" r="r" b="b"/>
            <a:pathLst>
              <a:path w="8037" h="12350" extrusionOk="0">
                <a:moveTo>
                  <a:pt x="3724" y="0"/>
                </a:moveTo>
                <a:cubicBezTo>
                  <a:pt x="2612" y="0"/>
                  <a:pt x="1561" y="932"/>
                  <a:pt x="965" y="2668"/>
                </a:cubicBezTo>
                <a:cubicBezTo>
                  <a:pt x="0" y="5466"/>
                  <a:pt x="584" y="9312"/>
                  <a:pt x="2274" y="11253"/>
                </a:cubicBezTo>
                <a:cubicBezTo>
                  <a:pt x="2920" y="11994"/>
                  <a:pt x="3632" y="12350"/>
                  <a:pt x="4318" y="12350"/>
                </a:cubicBezTo>
                <a:cubicBezTo>
                  <a:pt x="5430" y="12350"/>
                  <a:pt x="6476" y="11418"/>
                  <a:pt x="7072" y="9681"/>
                </a:cubicBezTo>
                <a:cubicBezTo>
                  <a:pt x="8037" y="6883"/>
                  <a:pt x="7453" y="3038"/>
                  <a:pt x="5763" y="1097"/>
                </a:cubicBezTo>
                <a:cubicBezTo>
                  <a:pt x="5122" y="356"/>
                  <a:pt x="4411" y="0"/>
                  <a:pt x="3724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6" name="Google Shape;2476;p54"/>
          <p:cNvSpPr/>
          <p:nvPr/>
        </p:nvSpPr>
        <p:spPr>
          <a:xfrm>
            <a:off x="6752085" y="4239912"/>
            <a:ext cx="246273" cy="234160"/>
          </a:xfrm>
          <a:custGeom>
            <a:avLst/>
            <a:gdLst/>
            <a:ahLst/>
            <a:cxnLst/>
            <a:rect l="l" t="t" r="r" b="b"/>
            <a:pathLst>
              <a:path w="10857" h="10323" extrusionOk="0">
                <a:moveTo>
                  <a:pt x="7932" y="0"/>
                </a:moveTo>
                <a:cubicBezTo>
                  <a:pt x="7694" y="0"/>
                  <a:pt x="7440" y="26"/>
                  <a:pt x="7173" y="78"/>
                </a:cubicBezTo>
                <a:cubicBezTo>
                  <a:pt x="4649" y="578"/>
                  <a:pt x="1827" y="3245"/>
                  <a:pt x="862" y="6054"/>
                </a:cubicBezTo>
                <a:cubicBezTo>
                  <a:pt x="1" y="8554"/>
                  <a:pt x="916" y="10323"/>
                  <a:pt x="2913" y="10323"/>
                </a:cubicBezTo>
                <a:cubicBezTo>
                  <a:pt x="3151" y="10323"/>
                  <a:pt x="3405" y="10297"/>
                  <a:pt x="3672" y="10245"/>
                </a:cubicBezTo>
                <a:cubicBezTo>
                  <a:pt x="6196" y="9745"/>
                  <a:pt x="9030" y="7078"/>
                  <a:pt x="9994" y="4269"/>
                </a:cubicBezTo>
                <a:cubicBezTo>
                  <a:pt x="10856" y="1769"/>
                  <a:pt x="9931" y="0"/>
                  <a:pt x="7932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7" name="Google Shape;2477;p54"/>
          <p:cNvSpPr/>
          <p:nvPr/>
        </p:nvSpPr>
        <p:spPr>
          <a:xfrm>
            <a:off x="6838508" y="3988127"/>
            <a:ext cx="246205" cy="233979"/>
          </a:xfrm>
          <a:custGeom>
            <a:avLst/>
            <a:gdLst/>
            <a:ahLst/>
            <a:cxnLst/>
            <a:rect l="l" t="t" r="r" b="b"/>
            <a:pathLst>
              <a:path w="10854" h="10315" extrusionOk="0">
                <a:moveTo>
                  <a:pt x="7949" y="0"/>
                </a:moveTo>
                <a:cubicBezTo>
                  <a:pt x="7706" y="0"/>
                  <a:pt x="7447" y="27"/>
                  <a:pt x="7173" y="81"/>
                </a:cubicBezTo>
                <a:cubicBezTo>
                  <a:pt x="4660" y="569"/>
                  <a:pt x="1827" y="3236"/>
                  <a:pt x="862" y="6046"/>
                </a:cubicBezTo>
                <a:cubicBezTo>
                  <a:pt x="1" y="8546"/>
                  <a:pt x="916" y="10314"/>
                  <a:pt x="2922" y="10314"/>
                </a:cubicBezTo>
                <a:cubicBezTo>
                  <a:pt x="3161" y="10314"/>
                  <a:pt x="3415" y="10289"/>
                  <a:pt x="3684" y="10237"/>
                </a:cubicBezTo>
                <a:cubicBezTo>
                  <a:pt x="6208" y="9737"/>
                  <a:pt x="9030" y="7070"/>
                  <a:pt x="9994" y="4260"/>
                </a:cubicBezTo>
                <a:cubicBezTo>
                  <a:pt x="10854" y="1766"/>
                  <a:pt x="9945" y="0"/>
                  <a:pt x="7949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8" name="Google Shape;2478;p54"/>
          <p:cNvSpPr/>
          <p:nvPr/>
        </p:nvSpPr>
        <p:spPr>
          <a:xfrm>
            <a:off x="7185886" y="3919329"/>
            <a:ext cx="246205" cy="233979"/>
          </a:xfrm>
          <a:custGeom>
            <a:avLst/>
            <a:gdLst/>
            <a:ahLst/>
            <a:cxnLst/>
            <a:rect l="l" t="t" r="r" b="b"/>
            <a:pathLst>
              <a:path w="10854" h="10315" extrusionOk="0">
                <a:moveTo>
                  <a:pt x="7936" y="0"/>
                </a:moveTo>
                <a:cubicBezTo>
                  <a:pt x="7696" y="0"/>
                  <a:pt x="7440" y="26"/>
                  <a:pt x="7170" y="78"/>
                </a:cubicBezTo>
                <a:cubicBezTo>
                  <a:pt x="4646" y="566"/>
                  <a:pt x="1824" y="3245"/>
                  <a:pt x="860" y="6043"/>
                </a:cubicBezTo>
                <a:cubicBezTo>
                  <a:pt x="0" y="8548"/>
                  <a:pt x="910" y="10314"/>
                  <a:pt x="2905" y="10314"/>
                </a:cubicBezTo>
                <a:cubicBezTo>
                  <a:pt x="3148" y="10314"/>
                  <a:pt x="3407" y="10288"/>
                  <a:pt x="3682" y="10234"/>
                </a:cubicBezTo>
                <a:cubicBezTo>
                  <a:pt x="6194" y="9746"/>
                  <a:pt x="9027" y="7079"/>
                  <a:pt x="9992" y="4269"/>
                </a:cubicBezTo>
                <a:cubicBezTo>
                  <a:pt x="10853" y="1760"/>
                  <a:pt x="9939" y="0"/>
                  <a:pt x="7936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9" name="Google Shape;2479;p54"/>
          <p:cNvSpPr/>
          <p:nvPr/>
        </p:nvSpPr>
        <p:spPr>
          <a:xfrm>
            <a:off x="6928450" y="3726428"/>
            <a:ext cx="246205" cy="233979"/>
          </a:xfrm>
          <a:custGeom>
            <a:avLst/>
            <a:gdLst/>
            <a:ahLst/>
            <a:cxnLst/>
            <a:rect l="l" t="t" r="r" b="b"/>
            <a:pathLst>
              <a:path w="10854" h="10315" extrusionOk="0">
                <a:moveTo>
                  <a:pt x="7949" y="0"/>
                </a:moveTo>
                <a:cubicBezTo>
                  <a:pt x="7706" y="0"/>
                  <a:pt x="7447" y="27"/>
                  <a:pt x="7172" y="81"/>
                </a:cubicBezTo>
                <a:cubicBezTo>
                  <a:pt x="4660" y="569"/>
                  <a:pt x="1827" y="3236"/>
                  <a:pt x="862" y="6046"/>
                </a:cubicBezTo>
                <a:cubicBezTo>
                  <a:pt x="1" y="8555"/>
                  <a:pt x="915" y="10314"/>
                  <a:pt x="2918" y="10314"/>
                </a:cubicBezTo>
                <a:cubicBezTo>
                  <a:pt x="3158" y="10314"/>
                  <a:pt x="3414" y="10289"/>
                  <a:pt x="3684" y="10237"/>
                </a:cubicBezTo>
                <a:cubicBezTo>
                  <a:pt x="6208" y="9749"/>
                  <a:pt x="9030" y="7070"/>
                  <a:pt x="9994" y="4272"/>
                </a:cubicBezTo>
                <a:cubicBezTo>
                  <a:pt x="10854" y="1767"/>
                  <a:pt x="9944" y="0"/>
                  <a:pt x="7949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0" name="Google Shape;2480;p54"/>
          <p:cNvSpPr/>
          <p:nvPr/>
        </p:nvSpPr>
        <p:spPr>
          <a:xfrm>
            <a:off x="7275803" y="3657629"/>
            <a:ext cx="246228" cy="233979"/>
          </a:xfrm>
          <a:custGeom>
            <a:avLst/>
            <a:gdLst/>
            <a:ahLst/>
            <a:cxnLst/>
            <a:rect l="l" t="t" r="r" b="b"/>
            <a:pathLst>
              <a:path w="10855" h="10315" extrusionOk="0">
                <a:moveTo>
                  <a:pt x="7933" y="1"/>
                </a:moveTo>
                <a:cubicBezTo>
                  <a:pt x="7694" y="1"/>
                  <a:pt x="7440" y="26"/>
                  <a:pt x="7171" y="78"/>
                </a:cubicBezTo>
                <a:cubicBezTo>
                  <a:pt x="4647" y="578"/>
                  <a:pt x="1825" y="3245"/>
                  <a:pt x="861" y="6055"/>
                </a:cubicBezTo>
                <a:cubicBezTo>
                  <a:pt x="1" y="8549"/>
                  <a:pt x="910" y="10314"/>
                  <a:pt x="2906" y="10314"/>
                </a:cubicBezTo>
                <a:cubicBezTo>
                  <a:pt x="3149" y="10314"/>
                  <a:pt x="3408" y="10288"/>
                  <a:pt x="3682" y="10234"/>
                </a:cubicBezTo>
                <a:cubicBezTo>
                  <a:pt x="6195" y="9746"/>
                  <a:pt x="9028" y="7079"/>
                  <a:pt x="9993" y="4269"/>
                </a:cubicBezTo>
                <a:cubicBezTo>
                  <a:pt x="10854" y="1769"/>
                  <a:pt x="9939" y="1"/>
                  <a:pt x="7933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1" name="Google Shape;2481;p54"/>
          <p:cNvSpPr/>
          <p:nvPr/>
        </p:nvSpPr>
        <p:spPr>
          <a:xfrm>
            <a:off x="6707625" y="3169705"/>
            <a:ext cx="295473" cy="188318"/>
          </a:xfrm>
          <a:custGeom>
            <a:avLst/>
            <a:gdLst/>
            <a:ahLst/>
            <a:cxnLst/>
            <a:rect l="l" t="t" r="r" b="b"/>
            <a:pathLst>
              <a:path w="13026" h="8302" extrusionOk="0">
                <a:moveTo>
                  <a:pt x="4046" y="1"/>
                </a:moveTo>
                <a:cubicBezTo>
                  <a:pt x="3678" y="1"/>
                  <a:pt x="3324" y="32"/>
                  <a:pt x="2989" y="97"/>
                </a:cubicBezTo>
                <a:cubicBezTo>
                  <a:pt x="465" y="585"/>
                  <a:pt x="1" y="2800"/>
                  <a:pt x="1941" y="5038"/>
                </a:cubicBezTo>
                <a:cubicBezTo>
                  <a:pt x="3634" y="6978"/>
                  <a:pt x="6579" y="8301"/>
                  <a:pt x="8977" y="8301"/>
                </a:cubicBezTo>
                <a:cubicBezTo>
                  <a:pt x="9346" y="8301"/>
                  <a:pt x="9701" y="8270"/>
                  <a:pt x="10038" y="8205"/>
                </a:cubicBezTo>
                <a:cubicBezTo>
                  <a:pt x="12550" y="7705"/>
                  <a:pt x="13026" y="5502"/>
                  <a:pt x="11073" y="3264"/>
                </a:cubicBezTo>
                <a:cubicBezTo>
                  <a:pt x="9391" y="1324"/>
                  <a:pt x="6438" y="1"/>
                  <a:pt x="4046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2" name="Google Shape;2482;p54"/>
          <p:cNvSpPr/>
          <p:nvPr/>
        </p:nvSpPr>
        <p:spPr>
          <a:xfrm>
            <a:off x="7053596" y="3101110"/>
            <a:ext cx="295473" cy="188318"/>
          </a:xfrm>
          <a:custGeom>
            <a:avLst/>
            <a:gdLst/>
            <a:ahLst/>
            <a:cxnLst/>
            <a:rect l="l" t="t" r="r" b="b"/>
            <a:pathLst>
              <a:path w="13026" h="8302" extrusionOk="0">
                <a:moveTo>
                  <a:pt x="4045" y="1"/>
                </a:moveTo>
                <a:cubicBezTo>
                  <a:pt x="3678" y="1"/>
                  <a:pt x="3323" y="32"/>
                  <a:pt x="2989" y="97"/>
                </a:cubicBezTo>
                <a:cubicBezTo>
                  <a:pt x="465" y="597"/>
                  <a:pt x="0" y="2811"/>
                  <a:pt x="1941" y="5038"/>
                </a:cubicBezTo>
                <a:cubicBezTo>
                  <a:pt x="3634" y="6978"/>
                  <a:pt x="6579" y="8301"/>
                  <a:pt x="8977" y="8301"/>
                </a:cubicBezTo>
                <a:cubicBezTo>
                  <a:pt x="9346" y="8301"/>
                  <a:pt x="9701" y="8270"/>
                  <a:pt x="10037" y="8205"/>
                </a:cubicBezTo>
                <a:cubicBezTo>
                  <a:pt x="12562" y="7717"/>
                  <a:pt x="13026" y="5502"/>
                  <a:pt x="11073" y="3264"/>
                </a:cubicBezTo>
                <a:cubicBezTo>
                  <a:pt x="9391" y="1324"/>
                  <a:pt x="6438" y="1"/>
                  <a:pt x="4045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3" name="Google Shape;2483;p54"/>
          <p:cNvSpPr/>
          <p:nvPr/>
        </p:nvSpPr>
        <p:spPr>
          <a:xfrm>
            <a:off x="6744078" y="2966893"/>
            <a:ext cx="295495" cy="188295"/>
          </a:xfrm>
          <a:custGeom>
            <a:avLst/>
            <a:gdLst/>
            <a:ahLst/>
            <a:cxnLst/>
            <a:rect l="l" t="t" r="r" b="b"/>
            <a:pathLst>
              <a:path w="13027" h="8301" extrusionOk="0">
                <a:moveTo>
                  <a:pt x="4049" y="0"/>
                </a:moveTo>
                <a:cubicBezTo>
                  <a:pt x="3681" y="0"/>
                  <a:pt x="3325" y="31"/>
                  <a:pt x="2989" y="96"/>
                </a:cubicBezTo>
                <a:cubicBezTo>
                  <a:pt x="465" y="596"/>
                  <a:pt x="1" y="2799"/>
                  <a:pt x="1954" y="5038"/>
                </a:cubicBezTo>
                <a:cubicBezTo>
                  <a:pt x="3636" y="6978"/>
                  <a:pt x="6579" y="8301"/>
                  <a:pt x="8978" y="8301"/>
                </a:cubicBezTo>
                <a:cubicBezTo>
                  <a:pt x="9346" y="8301"/>
                  <a:pt x="9702" y="8270"/>
                  <a:pt x="10038" y="8205"/>
                </a:cubicBezTo>
                <a:cubicBezTo>
                  <a:pt x="12562" y="7716"/>
                  <a:pt x="13026" y="5502"/>
                  <a:pt x="11074" y="3263"/>
                </a:cubicBezTo>
                <a:cubicBezTo>
                  <a:pt x="9391" y="1323"/>
                  <a:pt x="6448" y="0"/>
                  <a:pt x="4049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4" name="Google Shape;2484;p54"/>
          <p:cNvSpPr/>
          <p:nvPr/>
        </p:nvSpPr>
        <p:spPr>
          <a:xfrm>
            <a:off x="7099143" y="4171296"/>
            <a:ext cx="246251" cy="233911"/>
          </a:xfrm>
          <a:custGeom>
            <a:avLst/>
            <a:gdLst/>
            <a:ahLst/>
            <a:cxnLst/>
            <a:rect l="l" t="t" r="r" b="b"/>
            <a:pathLst>
              <a:path w="10856" h="10312" extrusionOk="0">
                <a:moveTo>
                  <a:pt x="7938" y="1"/>
                </a:moveTo>
                <a:cubicBezTo>
                  <a:pt x="7698" y="1"/>
                  <a:pt x="7442" y="26"/>
                  <a:pt x="7172" y="78"/>
                </a:cubicBezTo>
                <a:cubicBezTo>
                  <a:pt x="4648" y="567"/>
                  <a:pt x="1826" y="3245"/>
                  <a:pt x="862" y="6043"/>
                </a:cubicBezTo>
                <a:cubicBezTo>
                  <a:pt x="1" y="8553"/>
                  <a:pt x="915" y="10312"/>
                  <a:pt x="2918" y="10312"/>
                </a:cubicBezTo>
                <a:cubicBezTo>
                  <a:pt x="3158" y="10312"/>
                  <a:pt x="3414" y="10287"/>
                  <a:pt x="3684" y="10234"/>
                </a:cubicBezTo>
                <a:cubicBezTo>
                  <a:pt x="6208" y="9746"/>
                  <a:pt x="9030" y="7067"/>
                  <a:pt x="9994" y="4269"/>
                </a:cubicBezTo>
                <a:cubicBezTo>
                  <a:pt x="10855" y="1760"/>
                  <a:pt x="9941" y="1"/>
                  <a:pt x="7938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6" name="Google Shape;2486;p54"/>
          <p:cNvSpPr/>
          <p:nvPr/>
        </p:nvSpPr>
        <p:spPr>
          <a:xfrm>
            <a:off x="3759357" y="5140853"/>
            <a:ext cx="66620" cy="263293"/>
          </a:xfrm>
          <a:custGeom>
            <a:avLst/>
            <a:gdLst/>
            <a:ahLst/>
            <a:cxnLst/>
            <a:rect l="l" t="t" r="r" b="b"/>
            <a:pathLst>
              <a:path w="2049" h="8098" extrusionOk="0">
                <a:moveTo>
                  <a:pt x="1702" y="0"/>
                </a:moveTo>
                <a:cubicBezTo>
                  <a:pt x="757" y="0"/>
                  <a:pt x="1" y="788"/>
                  <a:pt x="1" y="1733"/>
                </a:cubicBezTo>
                <a:lnTo>
                  <a:pt x="1" y="8097"/>
                </a:lnTo>
                <a:cubicBezTo>
                  <a:pt x="348" y="7782"/>
                  <a:pt x="820" y="7562"/>
                  <a:pt x="1387" y="7562"/>
                </a:cubicBezTo>
                <a:lnTo>
                  <a:pt x="2049" y="7562"/>
                </a:lnTo>
                <a:lnTo>
                  <a:pt x="20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7" name="Google Shape;2487;p54"/>
          <p:cNvSpPr/>
          <p:nvPr/>
        </p:nvSpPr>
        <p:spPr>
          <a:xfrm>
            <a:off x="3759356" y="5408210"/>
            <a:ext cx="315541" cy="89151"/>
          </a:xfrm>
          <a:custGeom>
            <a:avLst/>
            <a:gdLst/>
            <a:ahLst/>
            <a:cxnLst/>
            <a:rect l="l" t="t" r="r" b="b"/>
            <a:pathLst>
              <a:path w="9705" h="2742" extrusionOk="0">
                <a:moveTo>
                  <a:pt x="1387" y="0"/>
                </a:moveTo>
                <a:cubicBezTo>
                  <a:pt x="631" y="0"/>
                  <a:pt x="1" y="630"/>
                  <a:pt x="1" y="1386"/>
                </a:cubicBezTo>
                <a:cubicBezTo>
                  <a:pt x="1" y="2111"/>
                  <a:pt x="600" y="2741"/>
                  <a:pt x="1356" y="2741"/>
                </a:cubicBezTo>
                <a:lnTo>
                  <a:pt x="4758" y="2741"/>
                </a:lnTo>
                <a:lnTo>
                  <a:pt x="4758" y="1733"/>
                </a:lnTo>
                <a:lnTo>
                  <a:pt x="1702" y="1733"/>
                </a:lnTo>
                <a:cubicBezTo>
                  <a:pt x="1513" y="1733"/>
                  <a:pt x="1356" y="1575"/>
                  <a:pt x="1356" y="1355"/>
                </a:cubicBezTo>
                <a:cubicBezTo>
                  <a:pt x="1356" y="1166"/>
                  <a:pt x="1513" y="1008"/>
                  <a:pt x="1702" y="1008"/>
                </a:cubicBezTo>
                <a:lnTo>
                  <a:pt x="9232" y="1008"/>
                </a:lnTo>
                <a:cubicBezTo>
                  <a:pt x="9263" y="851"/>
                  <a:pt x="9326" y="662"/>
                  <a:pt x="9452" y="536"/>
                </a:cubicBezTo>
                <a:cubicBezTo>
                  <a:pt x="9704" y="221"/>
                  <a:pt x="9484" y="0"/>
                  <a:pt x="926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8" name="Google Shape;2488;p54"/>
          <p:cNvSpPr/>
          <p:nvPr/>
        </p:nvSpPr>
        <p:spPr>
          <a:xfrm>
            <a:off x="4003174" y="5464521"/>
            <a:ext cx="71724" cy="32838"/>
          </a:xfrm>
          <a:custGeom>
            <a:avLst/>
            <a:gdLst/>
            <a:ahLst/>
            <a:cxnLst/>
            <a:rect l="l" t="t" r="r" b="b"/>
            <a:pathLst>
              <a:path w="2206" h="1010" extrusionOk="0">
                <a:moveTo>
                  <a:pt x="0" y="1"/>
                </a:moveTo>
                <a:lnTo>
                  <a:pt x="0" y="1009"/>
                </a:lnTo>
                <a:lnTo>
                  <a:pt x="1670" y="1009"/>
                </a:lnTo>
                <a:cubicBezTo>
                  <a:pt x="1953" y="1009"/>
                  <a:pt x="2205" y="788"/>
                  <a:pt x="1953" y="505"/>
                </a:cubicBezTo>
                <a:cubicBezTo>
                  <a:pt x="1827" y="347"/>
                  <a:pt x="1764" y="190"/>
                  <a:pt x="167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9" name="Google Shape;2489;p54"/>
          <p:cNvSpPr/>
          <p:nvPr/>
        </p:nvSpPr>
        <p:spPr>
          <a:xfrm>
            <a:off x="3903813" y="5275033"/>
            <a:ext cx="109635" cy="45096"/>
          </a:xfrm>
          <a:custGeom>
            <a:avLst/>
            <a:gdLst/>
            <a:ahLst/>
            <a:cxnLst/>
            <a:rect l="l" t="t" r="r" b="b"/>
            <a:pathLst>
              <a:path w="3372" h="1387" extrusionOk="0">
                <a:moveTo>
                  <a:pt x="1701" y="0"/>
                </a:moveTo>
                <a:cubicBezTo>
                  <a:pt x="882" y="0"/>
                  <a:pt x="221" y="599"/>
                  <a:pt x="0" y="1387"/>
                </a:cubicBezTo>
                <a:lnTo>
                  <a:pt x="3371" y="1387"/>
                </a:lnTo>
                <a:cubicBezTo>
                  <a:pt x="3214" y="599"/>
                  <a:pt x="2521" y="0"/>
                  <a:pt x="170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0" name="Google Shape;2490;p54"/>
          <p:cNvSpPr/>
          <p:nvPr/>
        </p:nvSpPr>
        <p:spPr>
          <a:xfrm>
            <a:off x="3937595" y="5208446"/>
            <a:ext cx="43048" cy="43048"/>
          </a:xfrm>
          <a:custGeom>
            <a:avLst/>
            <a:gdLst/>
            <a:ahLst/>
            <a:cxnLst/>
            <a:rect l="l" t="t" r="r" b="b"/>
            <a:pathLst>
              <a:path w="1324" h="1324" extrusionOk="0">
                <a:moveTo>
                  <a:pt x="662" y="1"/>
                </a:moveTo>
                <a:cubicBezTo>
                  <a:pt x="316" y="1"/>
                  <a:pt x="1" y="284"/>
                  <a:pt x="1" y="662"/>
                </a:cubicBezTo>
                <a:cubicBezTo>
                  <a:pt x="1" y="1040"/>
                  <a:pt x="316" y="1324"/>
                  <a:pt x="662" y="1324"/>
                </a:cubicBezTo>
                <a:cubicBezTo>
                  <a:pt x="1040" y="1324"/>
                  <a:pt x="1324" y="1040"/>
                  <a:pt x="1324" y="662"/>
                </a:cubicBezTo>
                <a:cubicBezTo>
                  <a:pt x="1324" y="284"/>
                  <a:pt x="1040" y="1"/>
                  <a:pt x="66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1" name="Google Shape;2491;p54"/>
          <p:cNvSpPr/>
          <p:nvPr/>
        </p:nvSpPr>
        <p:spPr>
          <a:xfrm>
            <a:off x="3847468" y="5140851"/>
            <a:ext cx="223333" cy="245866"/>
          </a:xfrm>
          <a:custGeom>
            <a:avLst/>
            <a:gdLst/>
            <a:ahLst/>
            <a:cxnLst/>
            <a:rect l="l" t="t" r="r" b="b"/>
            <a:pathLst>
              <a:path w="6869" h="7562" extrusionOk="0">
                <a:moveTo>
                  <a:pt x="3434" y="1355"/>
                </a:moveTo>
                <a:cubicBezTo>
                  <a:pt x="4191" y="1355"/>
                  <a:pt x="4821" y="1985"/>
                  <a:pt x="4821" y="2741"/>
                </a:cubicBezTo>
                <a:cubicBezTo>
                  <a:pt x="4821" y="3088"/>
                  <a:pt x="4663" y="3403"/>
                  <a:pt x="4474" y="3655"/>
                </a:cubicBezTo>
                <a:cubicBezTo>
                  <a:pt x="5293" y="4033"/>
                  <a:pt x="5829" y="4852"/>
                  <a:pt x="5829" y="5829"/>
                </a:cubicBezTo>
                <a:cubicBezTo>
                  <a:pt x="5829" y="6018"/>
                  <a:pt x="5671" y="6175"/>
                  <a:pt x="5482" y="6175"/>
                </a:cubicBezTo>
                <a:lnTo>
                  <a:pt x="1387" y="6175"/>
                </a:lnTo>
                <a:cubicBezTo>
                  <a:pt x="1198" y="6175"/>
                  <a:pt x="1040" y="6018"/>
                  <a:pt x="1040" y="5829"/>
                </a:cubicBezTo>
                <a:cubicBezTo>
                  <a:pt x="1040" y="4852"/>
                  <a:pt x="1576" y="4033"/>
                  <a:pt x="2426" y="3655"/>
                </a:cubicBezTo>
                <a:cubicBezTo>
                  <a:pt x="2174" y="3403"/>
                  <a:pt x="2048" y="3088"/>
                  <a:pt x="2048" y="2741"/>
                </a:cubicBezTo>
                <a:cubicBezTo>
                  <a:pt x="2048" y="1985"/>
                  <a:pt x="2678" y="1355"/>
                  <a:pt x="3434" y="1355"/>
                </a:cubicBezTo>
                <a:close/>
                <a:moveTo>
                  <a:pt x="0" y="0"/>
                </a:moveTo>
                <a:lnTo>
                  <a:pt x="0" y="7562"/>
                </a:lnTo>
                <a:lnTo>
                  <a:pt x="6868" y="7562"/>
                </a:lnTo>
                <a:lnTo>
                  <a:pt x="6868" y="1009"/>
                </a:lnTo>
                <a:cubicBezTo>
                  <a:pt x="6868" y="473"/>
                  <a:pt x="6396" y="0"/>
                  <a:pt x="582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2" name="Google Shape;2492;p54"/>
          <p:cNvSpPr/>
          <p:nvPr/>
        </p:nvSpPr>
        <p:spPr>
          <a:xfrm>
            <a:off x="3937595" y="5464521"/>
            <a:ext cx="45096" cy="55370"/>
          </a:xfrm>
          <a:custGeom>
            <a:avLst/>
            <a:gdLst/>
            <a:ahLst/>
            <a:cxnLst/>
            <a:rect l="l" t="t" r="r" b="b"/>
            <a:pathLst>
              <a:path w="1387" h="1703" extrusionOk="0">
                <a:moveTo>
                  <a:pt x="1" y="1"/>
                </a:moveTo>
                <a:lnTo>
                  <a:pt x="1" y="1702"/>
                </a:lnTo>
                <a:lnTo>
                  <a:pt x="505" y="1387"/>
                </a:lnTo>
                <a:cubicBezTo>
                  <a:pt x="536" y="1324"/>
                  <a:pt x="631" y="1324"/>
                  <a:pt x="694" y="1324"/>
                </a:cubicBezTo>
                <a:cubicBezTo>
                  <a:pt x="711" y="1316"/>
                  <a:pt x="725" y="1312"/>
                  <a:pt x="739" y="1312"/>
                </a:cubicBezTo>
                <a:cubicBezTo>
                  <a:pt x="776" y="1312"/>
                  <a:pt x="805" y="1341"/>
                  <a:pt x="851" y="1387"/>
                </a:cubicBezTo>
                <a:lnTo>
                  <a:pt x="1387" y="1702"/>
                </a:lnTo>
                <a:lnTo>
                  <a:pt x="1387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4" name="Google Shape;2494;p54"/>
          <p:cNvSpPr/>
          <p:nvPr/>
        </p:nvSpPr>
        <p:spPr>
          <a:xfrm>
            <a:off x="3924268" y="1991544"/>
            <a:ext cx="167021" cy="64539"/>
          </a:xfrm>
          <a:custGeom>
            <a:avLst/>
            <a:gdLst/>
            <a:ahLst/>
            <a:cxnLst/>
            <a:rect l="l" t="t" r="r" b="b"/>
            <a:pathLst>
              <a:path w="5137" h="1985" extrusionOk="0">
                <a:moveTo>
                  <a:pt x="473" y="0"/>
                </a:moveTo>
                <a:cubicBezTo>
                  <a:pt x="316" y="0"/>
                  <a:pt x="158" y="32"/>
                  <a:pt x="1" y="126"/>
                </a:cubicBezTo>
                <a:lnTo>
                  <a:pt x="2521" y="1985"/>
                </a:lnTo>
                <a:lnTo>
                  <a:pt x="5136" y="158"/>
                </a:lnTo>
                <a:cubicBezTo>
                  <a:pt x="4979" y="32"/>
                  <a:pt x="4790" y="0"/>
                  <a:pt x="456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5" name="Google Shape;2495;p54"/>
          <p:cNvSpPr/>
          <p:nvPr/>
        </p:nvSpPr>
        <p:spPr>
          <a:xfrm>
            <a:off x="3906873" y="2010985"/>
            <a:ext cx="199763" cy="134215"/>
          </a:xfrm>
          <a:custGeom>
            <a:avLst/>
            <a:gdLst/>
            <a:ahLst/>
            <a:cxnLst/>
            <a:rect l="l" t="t" r="r" b="b"/>
            <a:pathLst>
              <a:path w="6144" h="4128" extrusionOk="0">
                <a:moveTo>
                  <a:pt x="63" y="1"/>
                </a:moveTo>
                <a:cubicBezTo>
                  <a:pt x="32" y="127"/>
                  <a:pt x="0" y="284"/>
                  <a:pt x="0" y="379"/>
                </a:cubicBezTo>
                <a:lnTo>
                  <a:pt x="0" y="3120"/>
                </a:lnTo>
                <a:cubicBezTo>
                  <a:pt x="0" y="3655"/>
                  <a:pt x="473" y="4128"/>
                  <a:pt x="1040" y="4128"/>
                </a:cubicBezTo>
                <a:lnTo>
                  <a:pt x="5136" y="4128"/>
                </a:lnTo>
                <a:cubicBezTo>
                  <a:pt x="5671" y="4128"/>
                  <a:pt x="6144" y="3655"/>
                  <a:pt x="6144" y="3120"/>
                </a:cubicBezTo>
                <a:lnTo>
                  <a:pt x="6144" y="379"/>
                </a:lnTo>
                <a:cubicBezTo>
                  <a:pt x="6144" y="284"/>
                  <a:pt x="6112" y="190"/>
                  <a:pt x="6112" y="64"/>
                </a:cubicBezTo>
                <a:lnTo>
                  <a:pt x="3277" y="2048"/>
                </a:lnTo>
                <a:cubicBezTo>
                  <a:pt x="3214" y="2080"/>
                  <a:pt x="3151" y="2080"/>
                  <a:pt x="3056" y="2080"/>
                </a:cubicBezTo>
                <a:cubicBezTo>
                  <a:pt x="2993" y="2080"/>
                  <a:pt x="2962" y="2080"/>
                  <a:pt x="2867" y="2048"/>
                </a:cubicBezTo>
                <a:lnTo>
                  <a:pt x="63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6" name="Google Shape;2496;p54"/>
          <p:cNvSpPr/>
          <p:nvPr/>
        </p:nvSpPr>
        <p:spPr>
          <a:xfrm>
            <a:off x="3727595" y="1946446"/>
            <a:ext cx="245867" cy="244858"/>
          </a:xfrm>
          <a:custGeom>
            <a:avLst/>
            <a:gdLst/>
            <a:ahLst/>
            <a:cxnLst/>
            <a:rect l="l" t="t" r="r" b="b"/>
            <a:pathLst>
              <a:path w="7562" h="7531" extrusionOk="0">
                <a:moveTo>
                  <a:pt x="3781" y="2017"/>
                </a:moveTo>
                <a:cubicBezTo>
                  <a:pt x="3970" y="2017"/>
                  <a:pt x="4128" y="2175"/>
                  <a:pt x="4128" y="2364"/>
                </a:cubicBezTo>
                <a:cubicBezTo>
                  <a:pt x="4128" y="2584"/>
                  <a:pt x="3970" y="2742"/>
                  <a:pt x="3781" y="2742"/>
                </a:cubicBezTo>
                <a:lnTo>
                  <a:pt x="1702" y="2742"/>
                </a:lnTo>
                <a:cubicBezTo>
                  <a:pt x="1482" y="2742"/>
                  <a:pt x="1324" y="2584"/>
                  <a:pt x="1324" y="2364"/>
                </a:cubicBezTo>
                <a:cubicBezTo>
                  <a:pt x="1324" y="2175"/>
                  <a:pt x="1482" y="2017"/>
                  <a:pt x="1702" y="2017"/>
                </a:cubicBezTo>
                <a:close/>
                <a:moveTo>
                  <a:pt x="3057" y="3403"/>
                </a:moveTo>
                <a:cubicBezTo>
                  <a:pt x="3277" y="3403"/>
                  <a:pt x="3435" y="3561"/>
                  <a:pt x="3435" y="3750"/>
                </a:cubicBezTo>
                <a:cubicBezTo>
                  <a:pt x="3466" y="3939"/>
                  <a:pt x="3277" y="4096"/>
                  <a:pt x="3057" y="4096"/>
                </a:cubicBezTo>
                <a:lnTo>
                  <a:pt x="1702" y="4096"/>
                </a:lnTo>
                <a:cubicBezTo>
                  <a:pt x="1482" y="4096"/>
                  <a:pt x="1324" y="3939"/>
                  <a:pt x="1324" y="3750"/>
                </a:cubicBezTo>
                <a:cubicBezTo>
                  <a:pt x="1324" y="3561"/>
                  <a:pt x="1482" y="3403"/>
                  <a:pt x="1702" y="3403"/>
                </a:cubicBezTo>
                <a:close/>
                <a:moveTo>
                  <a:pt x="2395" y="4790"/>
                </a:moveTo>
                <a:cubicBezTo>
                  <a:pt x="2584" y="4790"/>
                  <a:pt x="2742" y="4947"/>
                  <a:pt x="2742" y="5136"/>
                </a:cubicBezTo>
                <a:cubicBezTo>
                  <a:pt x="2742" y="5325"/>
                  <a:pt x="2584" y="5483"/>
                  <a:pt x="2395" y="5483"/>
                </a:cubicBezTo>
                <a:lnTo>
                  <a:pt x="1702" y="5483"/>
                </a:lnTo>
                <a:cubicBezTo>
                  <a:pt x="1482" y="5483"/>
                  <a:pt x="1324" y="5325"/>
                  <a:pt x="1324" y="5136"/>
                </a:cubicBezTo>
                <a:cubicBezTo>
                  <a:pt x="1324" y="4947"/>
                  <a:pt x="1482" y="4790"/>
                  <a:pt x="1702" y="4790"/>
                </a:cubicBezTo>
                <a:close/>
                <a:moveTo>
                  <a:pt x="1" y="1"/>
                </a:moveTo>
                <a:lnTo>
                  <a:pt x="1" y="7530"/>
                </a:lnTo>
                <a:lnTo>
                  <a:pt x="7562" y="7530"/>
                </a:lnTo>
                <a:lnTo>
                  <a:pt x="7562" y="6837"/>
                </a:lnTo>
                <a:lnTo>
                  <a:pt x="6522" y="6837"/>
                </a:lnTo>
                <a:cubicBezTo>
                  <a:pt x="5577" y="6837"/>
                  <a:pt x="4853" y="6081"/>
                  <a:pt x="4853" y="5136"/>
                </a:cubicBezTo>
                <a:lnTo>
                  <a:pt x="4853" y="2395"/>
                </a:lnTo>
                <a:cubicBezTo>
                  <a:pt x="4853" y="1450"/>
                  <a:pt x="5577" y="725"/>
                  <a:pt x="6522" y="725"/>
                </a:cubicBezTo>
                <a:lnTo>
                  <a:pt x="7562" y="725"/>
                </a:lnTo>
                <a:lnTo>
                  <a:pt x="7562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7" name="Google Shape;2497;p54"/>
          <p:cNvSpPr/>
          <p:nvPr/>
        </p:nvSpPr>
        <p:spPr>
          <a:xfrm>
            <a:off x="3727595" y="1878851"/>
            <a:ext cx="245867" cy="45096"/>
          </a:xfrm>
          <a:custGeom>
            <a:avLst/>
            <a:gdLst/>
            <a:ahLst/>
            <a:cxnLst/>
            <a:rect l="l" t="t" r="r" b="b"/>
            <a:pathLst>
              <a:path w="7562" h="1387" extrusionOk="0">
                <a:moveTo>
                  <a:pt x="1009" y="1"/>
                </a:moveTo>
                <a:cubicBezTo>
                  <a:pt x="473" y="1"/>
                  <a:pt x="1" y="473"/>
                  <a:pt x="1" y="1040"/>
                </a:cubicBezTo>
                <a:lnTo>
                  <a:pt x="1" y="1387"/>
                </a:lnTo>
                <a:lnTo>
                  <a:pt x="7562" y="1387"/>
                </a:lnTo>
                <a:lnTo>
                  <a:pt x="7562" y="1040"/>
                </a:lnTo>
                <a:cubicBezTo>
                  <a:pt x="7562" y="473"/>
                  <a:pt x="7089" y="1"/>
                  <a:pt x="652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8" name="Google Shape;2498;p54"/>
          <p:cNvSpPr/>
          <p:nvPr/>
        </p:nvSpPr>
        <p:spPr>
          <a:xfrm>
            <a:off x="3727595" y="2212795"/>
            <a:ext cx="245867" cy="45096"/>
          </a:xfrm>
          <a:custGeom>
            <a:avLst/>
            <a:gdLst/>
            <a:ahLst/>
            <a:cxnLst/>
            <a:rect l="l" t="t" r="r" b="b"/>
            <a:pathLst>
              <a:path w="7562" h="1387" extrusionOk="0">
                <a:moveTo>
                  <a:pt x="1" y="0"/>
                </a:moveTo>
                <a:lnTo>
                  <a:pt x="1" y="347"/>
                </a:lnTo>
                <a:cubicBezTo>
                  <a:pt x="1" y="945"/>
                  <a:pt x="442" y="1386"/>
                  <a:pt x="1009" y="1386"/>
                </a:cubicBezTo>
                <a:lnTo>
                  <a:pt x="6522" y="1386"/>
                </a:lnTo>
                <a:cubicBezTo>
                  <a:pt x="7089" y="1386"/>
                  <a:pt x="7562" y="914"/>
                  <a:pt x="7562" y="347"/>
                </a:cubicBezTo>
                <a:lnTo>
                  <a:pt x="756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0" name="Google Shape;2500;p54"/>
          <p:cNvSpPr/>
          <p:nvPr/>
        </p:nvSpPr>
        <p:spPr>
          <a:xfrm>
            <a:off x="8340447" y="1923429"/>
            <a:ext cx="109635" cy="110675"/>
          </a:xfrm>
          <a:custGeom>
            <a:avLst/>
            <a:gdLst/>
            <a:ahLst/>
            <a:cxnLst/>
            <a:rect l="l" t="t" r="r" b="b"/>
            <a:pathLst>
              <a:path w="3372" h="3404" extrusionOk="0">
                <a:moveTo>
                  <a:pt x="347" y="1"/>
                </a:moveTo>
                <a:cubicBezTo>
                  <a:pt x="158" y="1"/>
                  <a:pt x="1" y="158"/>
                  <a:pt x="1" y="347"/>
                </a:cubicBezTo>
                <a:cubicBezTo>
                  <a:pt x="1" y="536"/>
                  <a:pt x="158" y="694"/>
                  <a:pt x="347" y="694"/>
                </a:cubicBezTo>
                <a:lnTo>
                  <a:pt x="1009" y="694"/>
                </a:lnTo>
                <a:cubicBezTo>
                  <a:pt x="1576" y="694"/>
                  <a:pt x="2049" y="1166"/>
                  <a:pt x="2049" y="1733"/>
                </a:cubicBezTo>
                <a:lnTo>
                  <a:pt x="2049" y="2269"/>
                </a:lnTo>
                <a:lnTo>
                  <a:pt x="1923" y="2175"/>
                </a:lnTo>
                <a:cubicBezTo>
                  <a:pt x="1860" y="2112"/>
                  <a:pt x="1773" y="2080"/>
                  <a:pt x="1686" y="2080"/>
                </a:cubicBezTo>
                <a:cubicBezTo>
                  <a:pt x="1600" y="2080"/>
                  <a:pt x="1513" y="2112"/>
                  <a:pt x="1450" y="2175"/>
                </a:cubicBezTo>
                <a:cubicBezTo>
                  <a:pt x="1324" y="2269"/>
                  <a:pt x="1324" y="2521"/>
                  <a:pt x="1450" y="2647"/>
                </a:cubicBezTo>
                <a:lnTo>
                  <a:pt x="2112" y="3309"/>
                </a:lnTo>
                <a:cubicBezTo>
                  <a:pt x="2175" y="3372"/>
                  <a:pt x="2269" y="3403"/>
                  <a:pt x="2360" y="3403"/>
                </a:cubicBezTo>
                <a:cubicBezTo>
                  <a:pt x="2450" y="3403"/>
                  <a:pt x="2537" y="3372"/>
                  <a:pt x="2584" y="3309"/>
                </a:cubicBezTo>
                <a:lnTo>
                  <a:pt x="3277" y="2647"/>
                </a:lnTo>
                <a:cubicBezTo>
                  <a:pt x="3372" y="2521"/>
                  <a:pt x="3372" y="2269"/>
                  <a:pt x="3277" y="2175"/>
                </a:cubicBezTo>
                <a:cubicBezTo>
                  <a:pt x="3214" y="2112"/>
                  <a:pt x="3120" y="2080"/>
                  <a:pt x="3029" y="2080"/>
                </a:cubicBezTo>
                <a:cubicBezTo>
                  <a:pt x="2939" y="2080"/>
                  <a:pt x="2852" y="2112"/>
                  <a:pt x="2805" y="2175"/>
                </a:cubicBezTo>
                <a:lnTo>
                  <a:pt x="2679" y="2269"/>
                </a:lnTo>
                <a:lnTo>
                  <a:pt x="2679" y="1733"/>
                </a:lnTo>
                <a:cubicBezTo>
                  <a:pt x="2742" y="788"/>
                  <a:pt x="1954" y="1"/>
                  <a:pt x="100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1" name="Google Shape;2501;p54"/>
          <p:cNvSpPr/>
          <p:nvPr/>
        </p:nvSpPr>
        <p:spPr>
          <a:xfrm>
            <a:off x="8185781" y="2146731"/>
            <a:ext cx="110643" cy="110675"/>
          </a:xfrm>
          <a:custGeom>
            <a:avLst/>
            <a:gdLst/>
            <a:ahLst/>
            <a:cxnLst/>
            <a:rect l="l" t="t" r="r" b="b"/>
            <a:pathLst>
              <a:path w="3403" h="3404" extrusionOk="0">
                <a:moveTo>
                  <a:pt x="1013" y="1"/>
                </a:moveTo>
                <a:cubicBezTo>
                  <a:pt x="922" y="1"/>
                  <a:pt x="835" y="32"/>
                  <a:pt x="788" y="95"/>
                </a:cubicBezTo>
                <a:lnTo>
                  <a:pt x="127" y="757"/>
                </a:lnTo>
                <a:cubicBezTo>
                  <a:pt x="1" y="883"/>
                  <a:pt x="1" y="1135"/>
                  <a:pt x="127" y="1229"/>
                </a:cubicBezTo>
                <a:cubicBezTo>
                  <a:pt x="174" y="1292"/>
                  <a:pt x="260" y="1324"/>
                  <a:pt x="351" y="1324"/>
                </a:cubicBezTo>
                <a:cubicBezTo>
                  <a:pt x="442" y="1324"/>
                  <a:pt x="536" y="1292"/>
                  <a:pt x="599" y="1229"/>
                </a:cubicBezTo>
                <a:lnTo>
                  <a:pt x="694" y="1135"/>
                </a:lnTo>
                <a:lnTo>
                  <a:pt x="694" y="1671"/>
                </a:lnTo>
                <a:cubicBezTo>
                  <a:pt x="694" y="2616"/>
                  <a:pt x="1450" y="3372"/>
                  <a:pt x="2395" y="3372"/>
                </a:cubicBezTo>
                <a:lnTo>
                  <a:pt x="3057" y="3372"/>
                </a:lnTo>
                <a:lnTo>
                  <a:pt x="3057" y="3403"/>
                </a:lnTo>
                <a:cubicBezTo>
                  <a:pt x="3246" y="3403"/>
                  <a:pt x="3403" y="3246"/>
                  <a:pt x="3403" y="3057"/>
                </a:cubicBezTo>
                <a:cubicBezTo>
                  <a:pt x="3403" y="2868"/>
                  <a:pt x="3246" y="2710"/>
                  <a:pt x="3057" y="2710"/>
                </a:cubicBezTo>
                <a:lnTo>
                  <a:pt x="2363" y="2710"/>
                </a:lnTo>
                <a:cubicBezTo>
                  <a:pt x="1796" y="2710"/>
                  <a:pt x="1324" y="2238"/>
                  <a:pt x="1324" y="1671"/>
                </a:cubicBezTo>
                <a:lnTo>
                  <a:pt x="1324" y="1135"/>
                </a:lnTo>
                <a:lnTo>
                  <a:pt x="1450" y="1229"/>
                </a:lnTo>
                <a:cubicBezTo>
                  <a:pt x="1513" y="1292"/>
                  <a:pt x="1599" y="1324"/>
                  <a:pt x="1686" y="1324"/>
                </a:cubicBezTo>
                <a:cubicBezTo>
                  <a:pt x="1773" y="1324"/>
                  <a:pt x="1859" y="1292"/>
                  <a:pt x="1922" y="1229"/>
                </a:cubicBezTo>
                <a:cubicBezTo>
                  <a:pt x="2048" y="1135"/>
                  <a:pt x="2048" y="883"/>
                  <a:pt x="1922" y="757"/>
                </a:cubicBezTo>
                <a:lnTo>
                  <a:pt x="1261" y="95"/>
                </a:lnTo>
                <a:cubicBezTo>
                  <a:pt x="1198" y="32"/>
                  <a:pt x="1103" y="1"/>
                  <a:pt x="101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2" name="Google Shape;2502;p54"/>
          <p:cNvSpPr/>
          <p:nvPr/>
        </p:nvSpPr>
        <p:spPr>
          <a:xfrm>
            <a:off x="8094614" y="1879404"/>
            <a:ext cx="268397" cy="199762"/>
          </a:xfrm>
          <a:custGeom>
            <a:avLst/>
            <a:gdLst/>
            <a:ahLst/>
            <a:cxnLst/>
            <a:rect l="l" t="t" r="r" b="b"/>
            <a:pathLst>
              <a:path w="8255" h="6144" extrusionOk="0">
                <a:moveTo>
                  <a:pt x="4191" y="0"/>
                </a:moveTo>
                <a:cubicBezTo>
                  <a:pt x="2300" y="0"/>
                  <a:pt x="757" y="1544"/>
                  <a:pt x="757" y="3434"/>
                </a:cubicBezTo>
                <a:lnTo>
                  <a:pt x="757" y="3529"/>
                </a:lnTo>
                <a:cubicBezTo>
                  <a:pt x="347" y="3686"/>
                  <a:pt x="95" y="4033"/>
                  <a:pt x="95" y="4474"/>
                </a:cubicBezTo>
                <a:lnTo>
                  <a:pt x="95" y="5135"/>
                </a:lnTo>
                <a:cubicBezTo>
                  <a:pt x="1" y="5671"/>
                  <a:pt x="473" y="6143"/>
                  <a:pt x="1009" y="6143"/>
                </a:cubicBezTo>
                <a:cubicBezTo>
                  <a:pt x="1135" y="6143"/>
                  <a:pt x="1261" y="6112"/>
                  <a:pt x="1387" y="6080"/>
                </a:cubicBezTo>
                <a:lnTo>
                  <a:pt x="1387" y="3403"/>
                </a:lnTo>
                <a:cubicBezTo>
                  <a:pt x="1387" y="1890"/>
                  <a:pt x="2647" y="630"/>
                  <a:pt x="4128" y="630"/>
                </a:cubicBezTo>
                <a:cubicBezTo>
                  <a:pt x="5640" y="630"/>
                  <a:pt x="6900" y="1890"/>
                  <a:pt x="6900" y="3403"/>
                </a:cubicBezTo>
                <a:lnTo>
                  <a:pt x="6900" y="6080"/>
                </a:lnTo>
                <a:cubicBezTo>
                  <a:pt x="6995" y="6112"/>
                  <a:pt x="7121" y="6143"/>
                  <a:pt x="7247" y="6143"/>
                </a:cubicBezTo>
                <a:cubicBezTo>
                  <a:pt x="7782" y="6143"/>
                  <a:pt x="8255" y="5671"/>
                  <a:pt x="8255" y="5135"/>
                </a:cubicBezTo>
                <a:lnTo>
                  <a:pt x="8255" y="4474"/>
                </a:lnTo>
                <a:cubicBezTo>
                  <a:pt x="8255" y="4033"/>
                  <a:pt x="8003" y="3623"/>
                  <a:pt x="7593" y="3529"/>
                </a:cubicBezTo>
                <a:lnTo>
                  <a:pt x="7593" y="3434"/>
                </a:lnTo>
                <a:cubicBezTo>
                  <a:pt x="7593" y="1544"/>
                  <a:pt x="6050" y="0"/>
                  <a:pt x="419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3" name="Google Shape;2503;p54"/>
          <p:cNvSpPr/>
          <p:nvPr/>
        </p:nvSpPr>
        <p:spPr>
          <a:xfrm>
            <a:off x="8162210" y="1945961"/>
            <a:ext cx="136263" cy="67985"/>
          </a:xfrm>
          <a:custGeom>
            <a:avLst/>
            <a:gdLst/>
            <a:ahLst/>
            <a:cxnLst/>
            <a:rect l="l" t="t" r="r" b="b"/>
            <a:pathLst>
              <a:path w="4191" h="2091" extrusionOk="0">
                <a:moveTo>
                  <a:pt x="1734" y="1"/>
                </a:moveTo>
                <a:cubicBezTo>
                  <a:pt x="789" y="1"/>
                  <a:pt x="1" y="757"/>
                  <a:pt x="1" y="1702"/>
                </a:cubicBezTo>
                <a:lnTo>
                  <a:pt x="1" y="2049"/>
                </a:lnTo>
                <a:lnTo>
                  <a:pt x="1230" y="2049"/>
                </a:lnTo>
                <a:cubicBezTo>
                  <a:pt x="1545" y="2049"/>
                  <a:pt x="1891" y="2049"/>
                  <a:pt x="2017" y="1986"/>
                </a:cubicBezTo>
                <a:cubicBezTo>
                  <a:pt x="2049" y="1954"/>
                  <a:pt x="2080" y="1828"/>
                  <a:pt x="2080" y="1734"/>
                </a:cubicBezTo>
                <a:cubicBezTo>
                  <a:pt x="2080" y="1545"/>
                  <a:pt x="2238" y="1387"/>
                  <a:pt x="2458" y="1387"/>
                </a:cubicBezTo>
                <a:cubicBezTo>
                  <a:pt x="2647" y="1387"/>
                  <a:pt x="2805" y="1545"/>
                  <a:pt x="2805" y="1734"/>
                </a:cubicBezTo>
                <a:cubicBezTo>
                  <a:pt x="2805" y="1828"/>
                  <a:pt x="2805" y="1954"/>
                  <a:pt x="2868" y="1986"/>
                </a:cubicBezTo>
                <a:cubicBezTo>
                  <a:pt x="2942" y="2059"/>
                  <a:pt x="3091" y="2090"/>
                  <a:pt x="3266" y="2090"/>
                </a:cubicBezTo>
                <a:cubicBezTo>
                  <a:pt x="3389" y="2090"/>
                  <a:pt x="3525" y="2075"/>
                  <a:pt x="3656" y="2049"/>
                </a:cubicBezTo>
                <a:lnTo>
                  <a:pt x="4191" y="2049"/>
                </a:lnTo>
                <a:lnTo>
                  <a:pt x="4191" y="1702"/>
                </a:lnTo>
                <a:lnTo>
                  <a:pt x="4128" y="1702"/>
                </a:lnTo>
                <a:cubicBezTo>
                  <a:pt x="4128" y="757"/>
                  <a:pt x="3340" y="1"/>
                  <a:pt x="239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4" name="Google Shape;2504;p54"/>
          <p:cNvSpPr/>
          <p:nvPr/>
        </p:nvSpPr>
        <p:spPr>
          <a:xfrm>
            <a:off x="8162210" y="2026884"/>
            <a:ext cx="136263" cy="96337"/>
          </a:xfrm>
          <a:custGeom>
            <a:avLst/>
            <a:gdLst/>
            <a:ahLst/>
            <a:cxnLst/>
            <a:rect l="l" t="t" r="r" b="b"/>
            <a:pathLst>
              <a:path w="4191" h="2963" extrusionOk="0">
                <a:moveTo>
                  <a:pt x="2395" y="1"/>
                </a:moveTo>
                <a:cubicBezTo>
                  <a:pt x="2080" y="253"/>
                  <a:pt x="1671" y="253"/>
                  <a:pt x="1230" y="253"/>
                </a:cubicBezTo>
                <a:lnTo>
                  <a:pt x="1" y="253"/>
                </a:lnTo>
                <a:lnTo>
                  <a:pt x="1" y="914"/>
                </a:lnTo>
                <a:cubicBezTo>
                  <a:pt x="1" y="2049"/>
                  <a:pt x="946" y="2962"/>
                  <a:pt x="2112" y="2962"/>
                </a:cubicBezTo>
                <a:cubicBezTo>
                  <a:pt x="3246" y="2962"/>
                  <a:pt x="4191" y="2049"/>
                  <a:pt x="4191" y="914"/>
                </a:cubicBezTo>
                <a:lnTo>
                  <a:pt x="4191" y="253"/>
                </a:lnTo>
                <a:lnTo>
                  <a:pt x="3466" y="253"/>
                </a:lnTo>
                <a:cubicBezTo>
                  <a:pt x="3088" y="253"/>
                  <a:pt x="2679" y="190"/>
                  <a:pt x="239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5" name="Google Shape;2505;p54"/>
          <p:cNvSpPr/>
          <p:nvPr/>
        </p:nvSpPr>
        <p:spPr>
          <a:xfrm>
            <a:off x="8341488" y="2079135"/>
            <a:ext cx="136263" cy="67953"/>
          </a:xfrm>
          <a:custGeom>
            <a:avLst/>
            <a:gdLst/>
            <a:ahLst/>
            <a:cxnLst/>
            <a:rect l="l" t="t" r="r" b="b"/>
            <a:pathLst>
              <a:path w="4191" h="2090" extrusionOk="0">
                <a:moveTo>
                  <a:pt x="1702" y="0"/>
                </a:moveTo>
                <a:cubicBezTo>
                  <a:pt x="756" y="0"/>
                  <a:pt x="0" y="757"/>
                  <a:pt x="0" y="1702"/>
                </a:cubicBezTo>
                <a:lnTo>
                  <a:pt x="0" y="2048"/>
                </a:lnTo>
                <a:lnTo>
                  <a:pt x="1229" y="2048"/>
                </a:lnTo>
                <a:cubicBezTo>
                  <a:pt x="1544" y="2048"/>
                  <a:pt x="1891" y="2048"/>
                  <a:pt x="2017" y="1985"/>
                </a:cubicBezTo>
                <a:cubicBezTo>
                  <a:pt x="2048" y="1954"/>
                  <a:pt x="2080" y="1828"/>
                  <a:pt x="2080" y="1733"/>
                </a:cubicBezTo>
                <a:cubicBezTo>
                  <a:pt x="2080" y="1544"/>
                  <a:pt x="2237" y="1387"/>
                  <a:pt x="2458" y="1387"/>
                </a:cubicBezTo>
                <a:cubicBezTo>
                  <a:pt x="2647" y="1387"/>
                  <a:pt x="2804" y="1544"/>
                  <a:pt x="2804" y="1733"/>
                </a:cubicBezTo>
                <a:cubicBezTo>
                  <a:pt x="2804" y="1828"/>
                  <a:pt x="2804" y="1954"/>
                  <a:pt x="2867" y="1985"/>
                </a:cubicBezTo>
                <a:cubicBezTo>
                  <a:pt x="2941" y="2059"/>
                  <a:pt x="3091" y="2090"/>
                  <a:pt x="3265" y="2090"/>
                </a:cubicBezTo>
                <a:cubicBezTo>
                  <a:pt x="3388" y="2090"/>
                  <a:pt x="3524" y="2074"/>
                  <a:pt x="3655" y="2048"/>
                </a:cubicBezTo>
                <a:lnTo>
                  <a:pt x="4190" y="2048"/>
                </a:lnTo>
                <a:lnTo>
                  <a:pt x="4190" y="1702"/>
                </a:lnTo>
                <a:cubicBezTo>
                  <a:pt x="4096" y="757"/>
                  <a:pt x="3308" y="0"/>
                  <a:pt x="236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6" name="Google Shape;2506;p54"/>
          <p:cNvSpPr/>
          <p:nvPr/>
        </p:nvSpPr>
        <p:spPr>
          <a:xfrm>
            <a:off x="8340447" y="2160061"/>
            <a:ext cx="133207" cy="97345"/>
          </a:xfrm>
          <a:custGeom>
            <a:avLst/>
            <a:gdLst/>
            <a:ahLst/>
            <a:cxnLst/>
            <a:rect l="l" t="t" r="r" b="b"/>
            <a:pathLst>
              <a:path w="4097" h="2994" extrusionOk="0">
                <a:moveTo>
                  <a:pt x="2395" y="0"/>
                </a:moveTo>
                <a:cubicBezTo>
                  <a:pt x="2080" y="252"/>
                  <a:pt x="1639" y="252"/>
                  <a:pt x="1230" y="252"/>
                </a:cubicBezTo>
                <a:lnTo>
                  <a:pt x="1" y="252"/>
                </a:lnTo>
                <a:lnTo>
                  <a:pt x="1" y="914"/>
                </a:lnTo>
                <a:cubicBezTo>
                  <a:pt x="1" y="2048"/>
                  <a:pt x="914" y="2993"/>
                  <a:pt x="2049" y="2993"/>
                </a:cubicBezTo>
                <a:cubicBezTo>
                  <a:pt x="3183" y="2993"/>
                  <a:pt x="4096" y="2048"/>
                  <a:pt x="4096" y="914"/>
                </a:cubicBezTo>
                <a:lnTo>
                  <a:pt x="4096" y="252"/>
                </a:lnTo>
                <a:lnTo>
                  <a:pt x="3435" y="252"/>
                </a:lnTo>
                <a:cubicBezTo>
                  <a:pt x="3025" y="252"/>
                  <a:pt x="2679" y="189"/>
                  <a:pt x="239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8" name="Google Shape;2508;p54"/>
          <p:cNvSpPr/>
          <p:nvPr/>
        </p:nvSpPr>
        <p:spPr>
          <a:xfrm>
            <a:off x="8215497" y="3624324"/>
            <a:ext cx="260204" cy="314502"/>
          </a:xfrm>
          <a:custGeom>
            <a:avLst/>
            <a:gdLst/>
            <a:ahLst/>
            <a:cxnLst/>
            <a:rect l="l" t="t" r="r" b="b"/>
            <a:pathLst>
              <a:path w="8003" h="9673" extrusionOk="0">
                <a:moveTo>
                  <a:pt x="2300" y="0"/>
                </a:moveTo>
                <a:cubicBezTo>
                  <a:pt x="2017" y="0"/>
                  <a:pt x="1796" y="252"/>
                  <a:pt x="1796" y="536"/>
                </a:cubicBezTo>
                <a:lnTo>
                  <a:pt x="1796" y="2962"/>
                </a:lnTo>
                <a:lnTo>
                  <a:pt x="694" y="4064"/>
                </a:lnTo>
                <a:cubicBezTo>
                  <a:pt x="95" y="4663"/>
                  <a:pt x="0" y="5640"/>
                  <a:pt x="536" y="6301"/>
                </a:cubicBezTo>
                <a:lnTo>
                  <a:pt x="1576" y="7719"/>
                </a:lnTo>
                <a:cubicBezTo>
                  <a:pt x="1702" y="7876"/>
                  <a:pt x="1796" y="8128"/>
                  <a:pt x="1796" y="8349"/>
                </a:cubicBezTo>
                <a:lnTo>
                  <a:pt x="1796" y="9294"/>
                </a:lnTo>
                <a:cubicBezTo>
                  <a:pt x="1796" y="9515"/>
                  <a:pt x="1954" y="9672"/>
                  <a:pt x="2143" y="9672"/>
                </a:cubicBezTo>
                <a:lnTo>
                  <a:pt x="6932" y="9672"/>
                </a:lnTo>
                <a:cubicBezTo>
                  <a:pt x="7152" y="9672"/>
                  <a:pt x="7310" y="9515"/>
                  <a:pt x="7310" y="9294"/>
                </a:cubicBezTo>
                <a:lnTo>
                  <a:pt x="7310" y="8349"/>
                </a:lnTo>
                <a:cubicBezTo>
                  <a:pt x="7310" y="8128"/>
                  <a:pt x="7373" y="7939"/>
                  <a:pt x="7530" y="7782"/>
                </a:cubicBezTo>
                <a:cubicBezTo>
                  <a:pt x="7814" y="7498"/>
                  <a:pt x="7971" y="7089"/>
                  <a:pt x="7971" y="6711"/>
                </a:cubicBezTo>
                <a:lnTo>
                  <a:pt x="7971" y="3938"/>
                </a:lnTo>
                <a:cubicBezTo>
                  <a:pt x="8003" y="3686"/>
                  <a:pt x="7782" y="3434"/>
                  <a:pt x="7499" y="3434"/>
                </a:cubicBezTo>
                <a:cubicBezTo>
                  <a:pt x="7215" y="3434"/>
                  <a:pt x="6995" y="3686"/>
                  <a:pt x="6995" y="3938"/>
                </a:cubicBezTo>
                <a:lnTo>
                  <a:pt x="6995" y="4474"/>
                </a:lnTo>
                <a:cubicBezTo>
                  <a:pt x="6995" y="4663"/>
                  <a:pt x="6837" y="4820"/>
                  <a:pt x="6617" y="4820"/>
                </a:cubicBezTo>
                <a:cubicBezTo>
                  <a:pt x="6427" y="4820"/>
                  <a:pt x="6270" y="4663"/>
                  <a:pt x="6270" y="4474"/>
                </a:cubicBezTo>
                <a:lnTo>
                  <a:pt x="6270" y="3277"/>
                </a:lnTo>
                <a:cubicBezTo>
                  <a:pt x="6270" y="2993"/>
                  <a:pt x="6049" y="2773"/>
                  <a:pt x="5766" y="2773"/>
                </a:cubicBezTo>
                <a:cubicBezTo>
                  <a:pt x="5482" y="2773"/>
                  <a:pt x="5262" y="2993"/>
                  <a:pt x="5262" y="3277"/>
                </a:cubicBezTo>
                <a:lnTo>
                  <a:pt x="5262" y="4474"/>
                </a:lnTo>
                <a:cubicBezTo>
                  <a:pt x="5262" y="4663"/>
                  <a:pt x="5104" y="4820"/>
                  <a:pt x="4884" y="4820"/>
                </a:cubicBezTo>
                <a:cubicBezTo>
                  <a:pt x="4695" y="4820"/>
                  <a:pt x="4537" y="4663"/>
                  <a:pt x="4537" y="4474"/>
                </a:cubicBezTo>
                <a:lnTo>
                  <a:pt x="4537" y="1890"/>
                </a:lnTo>
                <a:cubicBezTo>
                  <a:pt x="4537" y="1638"/>
                  <a:pt x="4317" y="1386"/>
                  <a:pt x="4033" y="1386"/>
                </a:cubicBezTo>
                <a:cubicBezTo>
                  <a:pt x="3750" y="1386"/>
                  <a:pt x="3529" y="1638"/>
                  <a:pt x="3529" y="1890"/>
                </a:cubicBezTo>
                <a:lnTo>
                  <a:pt x="3529" y="4474"/>
                </a:lnTo>
                <a:cubicBezTo>
                  <a:pt x="3529" y="4663"/>
                  <a:pt x="3371" y="4820"/>
                  <a:pt x="3151" y="4820"/>
                </a:cubicBezTo>
                <a:cubicBezTo>
                  <a:pt x="2962" y="4820"/>
                  <a:pt x="2804" y="4663"/>
                  <a:pt x="2804" y="4474"/>
                </a:cubicBezTo>
                <a:lnTo>
                  <a:pt x="2804" y="4159"/>
                </a:lnTo>
                <a:lnTo>
                  <a:pt x="2804" y="536"/>
                </a:lnTo>
                <a:cubicBezTo>
                  <a:pt x="2804" y="252"/>
                  <a:pt x="2584" y="0"/>
                  <a:pt x="230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9" name="Google Shape;2509;p54"/>
          <p:cNvSpPr/>
          <p:nvPr/>
        </p:nvSpPr>
        <p:spPr>
          <a:xfrm>
            <a:off x="8432652" y="3581277"/>
            <a:ext cx="43048" cy="137304"/>
          </a:xfrm>
          <a:custGeom>
            <a:avLst/>
            <a:gdLst/>
            <a:ahLst/>
            <a:cxnLst/>
            <a:rect l="l" t="t" r="r" b="b"/>
            <a:pathLst>
              <a:path w="1324" h="4223" extrusionOk="0">
                <a:moveTo>
                  <a:pt x="1" y="1"/>
                </a:moveTo>
                <a:lnTo>
                  <a:pt x="1" y="3782"/>
                </a:lnTo>
                <a:cubicBezTo>
                  <a:pt x="95" y="3908"/>
                  <a:pt x="221" y="4065"/>
                  <a:pt x="253" y="4223"/>
                </a:cubicBezTo>
                <a:cubicBezTo>
                  <a:pt x="410" y="4128"/>
                  <a:pt x="631" y="4065"/>
                  <a:pt x="820" y="4065"/>
                </a:cubicBezTo>
                <a:cubicBezTo>
                  <a:pt x="1009" y="4065"/>
                  <a:pt x="1166" y="4097"/>
                  <a:pt x="1324" y="4160"/>
                </a:cubicBezTo>
                <a:lnTo>
                  <a:pt x="1324" y="285"/>
                </a:lnTo>
                <a:cubicBezTo>
                  <a:pt x="1324" y="127"/>
                  <a:pt x="1166" y="1"/>
                  <a:pt x="100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0" name="Google Shape;2510;p54"/>
          <p:cNvSpPr/>
          <p:nvPr/>
        </p:nvSpPr>
        <p:spPr>
          <a:xfrm>
            <a:off x="8096661" y="3580269"/>
            <a:ext cx="125015" cy="267390"/>
          </a:xfrm>
          <a:custGeom>
            <a:avLst/>
            <a:gdLst/>
            <a:ahLst/>
            <a:cxnLst/>
            <a:rect l="l" t="t" r="r" b="b"/>
            <a:pathLst>
              <a:path w="3845" h="8224" extrusionOk="0">
                <a:moveTo>
                  <a:pt x="379" y="0"/>
                </a:moveTo>
                <a:cubicBezTo>
                  <a:pt x="158" y="0"/>
                  <a:pt x="1" y="127"/>
                  <a:pt x="1" y="347"/>
                </a:cubicBezTo>
                <a:lnTo>
                  <a:pt x="1" y="7877"/>
                </a:lnTo>
                <a:cubicBezTo>
                  <a:pt x="1" y="8066"/>
                  <a:pt x="158" y="8223"/>
                  <a:pt x="347" y="8223"/>
                </a:cubicBezTo>
                <a:lnTo>
                  <a:pt x="3844" y="8223"/>
                </a:lnTo>
                <a:lnTo>
                  <a:pt x="3718" y="8066"/>
                </a:lnTo>
                <a:cubicBezTo>
                  <a:pt x="3435" y="7719"/>
                  <a:pt x="3277" y="7278"/>
                  <a:pt x="3246" y="6837"/>
                </a:cubicBezTo>
                <a:lnTo>
                  <a:pt x="2458" y="6837"/>
                </a:lnTo>
                <a:cubicBezTo>
                  <a:pt x="1891" y="6837"/>
                  <a:pt x="1419" y="6364"/>
                  <a:pt x="1419" y="5829"/>
                </a:cubicBezTo>
                <a:lnTo>
                  <a:pt x="141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1" name="Google Shape;2511;p54"/>
          <p:cNvSpPr/>
          <p:nvPr/>
        </p:nvSpPr>
        <p:spPr>
          <a:xfrm>
            <a:off x="8163247" y="3557737"/>
            <a:ext cx="245867" cy="223334"/>
          </a:xfrm>
          <a:custGeom>
            <a:avLst/>
            <a:gdLst/>
            <a:ahLst/>
            <a:cxnLst/>
            <a:rect l="l" t="t" r="r" b="b"/>
            <a:pathLst>
              <a:path w="7562" h="6869" extrusionOk="0">
                <a:moveTo>
                  <a:pt x="379" y="0"/>
                </a:moveTo>
                <a:cubicBezTo>
                  <a:pt x="158" y="0"/>
                  <a:pt x="1" y="158"/>
                  <a:pt x="1" y="347"/>
                </a:cubicBezTo>
                <a:lnTo>
                  <a:pt x="1" y="6522"/>
                </a:lnTo>
                <a:cubicBezTo>
                  <a:pt x="1" y="6711"/>
                  <a:pt x="158" y="6868"/>
                  <a:pt x="379" y="6868"/>
                </a:cubicBezTo>
                <a:lnTo>
                  <a:pt x="1198" y="6868"/>
                </a:lnTo>
                <a:cubicBezTo>
                  <a:pt x="1261" y="6427"/>
                  <a:pt x="1513" y="5986"/>
                  <a:pt x="1828" y="5640"/>
                </a:cubicBezTo>
                <a:lnTo>
                  <a:pt x="2742" y="4726"/>
                </a:lnTo>
                <a:lnTo>
                  <a:pt x="2742" y="2584"/>
                </a:lnTo>
                <a:cubicBezTo>
                  <a:pt x="2742" y="1891"/>
                  <a:pt x="3277" y="1387"/>
                  <a:pt x="3907" y="1387"/>
                </a:cubicBezTo>
                <a:cubicBezTo>
                  <a:pt x="4537" y="1387"/>
                  <a:pt x="5105" y="1922"/>
                  <a:pt x="5105" y="2584"/>
                </a:cubicBezTo>
                <a:lnTo>
                  <a:pt x="5105" y="2836"/>
                </a:lnTo>
                <a:cubicBezTo>
                  <a:pt x="5262" y="2773"/>
                  <a:pt x="5420" y="2710"/>
                  <a:pt x="5609" y="2710"/>
                </a:cubicBezTo>
                <a:cubicBezTo>
                  <a:pt x="6270" y="2710"/>
                  <a:pt x="6774" y="3277"/>
                  <a:pt x="6774" y="3907"/>
                </a:cubicBezTo>
                <a:lnTo>
                  <a:pt x="6774" y="4191"/>
                </a:lnTo>
                <a:cubicBezTo>
                  <a:pt x="7058" y="4159"/>
                  <a:pt x="7215" y="4096"/>
                  <a:pt x="7404" y="4096"/>
                </a:cubicBezTo>
                <a:cubicBezTo>
                  <a:pt x="7499" y="4096"/>
                  <a:pt x="7530" y="4096"/>
                  <a:pt x="7562" y="4159"/>
                </a:cubicBezTo>
                <a:lnTo>
                  <a:pt x="7562" y="347"/>
                </a:lnTo>
                <a:cubicBezTo>
                  <a:pt x="7562" y="158"/>
                  <a:pt x="7404" y="0"/>
                  <a:pt x="7215" y="0"/>
                </a:cubicBezTo>
                <a:lnTo>
                  <a:pt x="5168" y="0"/>
                </a:lnTo>
                <a:cubicBezTo>
                  <a:pt x="4600" y="0"/>
                  <a:pt x="4096" y="284"/>
                  <a:pt x="3781" y="725"/>
                </a:cubicBezTo>
                <a:cubicBezTo>
                  <a:pt x="3466" y="284"/>
                  <a:pt x="2994" y="0"/>
                  <a:pt x="239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3" name="Google Shape;2513;p54"/>
          <p:cNvSpPr/>
          <p:nvPr/>
        </p:nvSpPr>
        <p:spPr>
          <a:xfrm>
            <a:off x="3818721" y="3647880"/>
            <a:ext cx="197713" cy="198754"/>
          </a:xfrm>
          <a:custGeom>
            <a:avLst/>
            <a:gdLst/>
            <a:ahLst/>
            <a:cxnLst/>
            <a:rect l="l" t="t" r="r" b="b"/>
            <a:pathLst>
              <a:path w="6081" h="6113" extrusionOk="0">
                <a:moveTo>
                  <a:pt x="3025" y="1387"/>
                </a:moveTo>
                <a:cubicBezTo>
                  <a:pt x="3970" y="1387"/>
                  <a:pt x="4726" y="2143"/>
                  <a:pt x="4726" y="3088"/>
                </a:cubicBezTo>
                <a:cubicBezTo>
                  <a:pt x="4726" y="4033"/>
                  <a:pt x="3970" y="4789"/>
                  <a:pt x="3025" y="4789"/>
                </a:cubicBezTo>
                <a:cubicBezTo>
                  <a:pt x="2080" y="4789"/>
                  <a:pt x="1324" y="4033"/>
                  <a:pt x="1324" y="3088"/>
                </a:cubicBezTo>
                <a:cubicBezTo>
                  <a:pt x="1324" y="2143"/>
                  <a:pt x="2080" y="1387"/>
                  <a:pt x="3025" y="1387"/>
                </a:cubicBezTo>
                <a:close/>
                <a:moveTo>
                  <a:pt x="2710" y="0"/>
                </a:moveTo>
                <a:lnTo>
                  <a:pt x="2710" y="442"/>
                </a:lnTo>
                <a:cubicBezTo>
                  <a:pt x="2710" y="599"/>
                  <a:pt x="2584" y="725"/>
                  <a:pt x="2426" y="757"/>
                </a:cubicBezTo>
                <a:cubicBezTo>
                  <a:pt x="2237" y="788"/>
                  <a:pt x="2017" y="914"/>
                  <a:pt x="1859" y="1009"/>
                </a:cubicBezTo>
                <a:cubicBezTo>
                  <a:pt x="1815" y="1031"/>
                  <a:pt x="1762" y="1041"/>
                  <a:pt x="1707" y="1041"/>
                </a:cubicBezTo>
                <a:cubicBezTo>
                  <a:pt x="1607" y="1041"/>
                  <a:pt x="1500" y="1007"/>
                  <a:pt x="1418" y="946"/>
                </a:cubicBezTo>
                <a:lnTo>
                  <a:pt x="1103" y="631"/>
                </a:lnTo>
                <a:lnTo>
                  <a:pt x="631" y="1103"/>
                </a:lnTo>
                <a:lnTo>
                  <a:pt x="946" y="1418"/>
                </a:lnTo>
                <a:cubicBezTo>
                  <a:pt x="1072" y="1544"/>
                  <a:pt x="1072" y="1702"/>
                  <a:pt x="977" y="1859"/>
                </a:cubicBezTo>
                <a:cubicBezTo>
                  <a:pt x="851" y="2048"/>
                  <a:pt x="788" y="2269"/>
                  <a:pt x="757" y="2458"/>
                </a:cubicBezTo>
                <a:cubicBezTo>
                  <a:pt x="694" y="2615"/>
                  <a:pt x="599" y="2710"/>
                  <a:pt x="442" y="2710"/>
                </a:cubicBezTo>
                <a:lnTo>
                  <a:pt x="1" y="2710"/>
                </a:lnTo>
                <a:lnTo>
                  <a:pt x="1" y="3403"/>
                </a:lnTo>
                <a:lnTo>
                  <a:pt x="442" y="3403"/>
                </a:lnTo>
                <a:cubicBezTo>
                  <a:pt x="599" y="3403"/>
                  <a:pt x="694" y="3498"/>
                  <a:pt x="757" y="3655"/>
                </a:cubicBezTo>
                <a:cubicBezTo>
                  <a:pt x="788" y="3876"/>
                  <a:pt x="914" y="4096"/>
                  <a:pt x="977" y="4254"/>
                </a:cubicBezTo>
                <a:cubicBezTo>
                  <a:pt x="1072" y="4380"/>
                  <a:pt x="1009" y="4569"/>
                  <a:pt x="946" y="4695"/>
                </a:cubicBezTo>
                <a:lnTo>
                  <a:pt x="631" y="5010"/>
                </a:lnTo>
                <a:lnTo>
                  <a:pt x="1103" y="5482"/>
                </a:lnTo>
                <a:lnTo>
                  <a:pt x="1418" y="5167"/>
                </a:lnTo>
                <a:cubicBezTo>
                  <a:pt x="1486" y="5100"/>
                  <a:pt x="1562" y="5068"/>
                  <a:pt x="1643" y="5068"/>
                </a:cubicBezTo>
                <a:cubicBezTo>
                  <a:pt x="1713" y="5068"/>
                  <a:pt x="1786" y="5092"/>
                  <a:pt x="1859" y="5136"/>
                </a:cubicBezTo>
                <a:cubicBezTo>
                  <a:pt x="2048" y="5230"/>
                  <a:pt x="2237" y="5325"/>
                  <a:pt x="2426" y="5356"/>
                </a:cubicBezTo>
                <a:cubicBezTo>
                  <a:pt x="2584" y="5419"/>
                  <a:pt x="2710" y="5514"/>
                  <a:pt x="2710" y="5671"/>
                </a:cubicBezTo>
                <a:lnTo>
                  <a:pt x="2710" y="6112"/>
                </a:lnTo>
                <a:lnTo>
                  <a:pt x="3372" y="6112"/>
                </a:lnTo>
                <a:lnTo>
                  <a:pt x="3372" y="5734"/>
                </a:lnTo>
                <a:cubicBezTo>
                  <a:pt x="3372" y="5577"/>
                  <a:pt x="3498" y="5451"/>
                  <a:pt x="3655" y="5419"/>
                </a:cubicBezTo>
                <a:cubicBezTo>
                  <a:pt x="3844" y="5356"/>
                  <a:pt x="4096" y="5262"/>
                  <a:pt x="4254" y="5167"/>
                </a:cubicBezTo>
                <a:cubicBezTo>
                  <a:pt x="4300" y="5133"/>
                  <a:pt x="4355" y="5119"/>
                  <a:pt x="4410" y="5119"/>
                </a:cubicBezTo>
                <a:cubicBezTo>
                  <a:pt x="4506" y="5119"/>
                  <a:pt x="4603" y="5159"/>
                  <a:pt x="4663" y="5199"/>
                </a:cubicBezTo>
                <a:lnTo>
                  <a:pt x="5010" y="5514"/>
                </a:lnTo>
                <a:lnTo>
                  <a:pt x="5451" y="5041"/>
                </a:lnTo>
                <a:lnTo>
                  <a:pt x="5136" y="4726"/>
                </a:lnTo>
                <a:cubicBezTo>
                  <a:pt x="5041" y="4632"/>
                  <a:pt x="5041" y="4474"/>
                  <a:pt x="5104" y="4285"/>
                </a:cubicBezTo>
                <a:cubicBezTo>
                  <a:pt x="5230" y="4096"/>
                  <a:pt x="5293" y="3907"/>
                  <a:pt x="5356" y="3718"/>
                </a:cubicBezTo>
                <a:cubicBezTo>
                  <a:pt x="5388" y="3561"/>
                  <a:pt x="5514" y="3434"/>
                  <a:pt x="5671" y="3434"/>
                </a:cubicBezTo>
                <a:lnTo>
                  <a:pt x="6081" y="3434"/>
                </a:lnTo>
                <a:lnTo>
                  <a:pt x="6081" y="2773"/>
                </a:lnTo>
                <a:lnTo>
                  <a:pt x="5671" y="2773"/>
                </a:lnTo>
                <a:cubicBezTo>
                  <a:pt x="5514" y="2710"/>
                  <a:pt x="5388" y="2615"/>
                  <a:pt x="5356" y="2458"/>
                </a:cubicBezTo>
                <a:cubicBezTo>
                  <a:pt x="5293" y="2269"/>
                  <a:pt x="5199" y="2017"/>
                  <a:pt x="5104" y="1859"/>
                </a:cubicBezTo>
                <a:cubicBezTo>
                  <a:pt x="5041" y="1733"/>
                  <a:pt x="5073" y="1544"/>
                  <a:pt x="5136" y="1418"/>
                </a:cubicBezTo>
                <a:lnTo>
                  <a:pt x="5451" y="1103"/>
                </a:lnTo>
                <a:lnTo>
                  <a:pt x="5010" y="631"/>
                </a:lnTo>
                <a:lnTo>
                  <a:pt x="4663" y="946"/>
                </a:lnTo>
                <a:cubicBezTo>
                  <a:pt x="4608" y="1019"/>
                  <a:pt x="4531" y="1050"/>
                  <a:pt x="4445" y="1050"/>
                </a:cubicBezTo>
                <a:cubicBezTo>
                  <a:pt x="4384" y="1050"/>
                  <a:pt x="4319" y="1035"/>
                  <a:pt x="4254" y="1009"/>
                </a:cubicBezTo>
                <a:cubicBezTo>
                  <a:pt x="4033" y="883"/>
                  <a:pt x="3844" y="788"/>
                  <a:pt x="3655" y="757"/>
                </a:cubicBezTo>
                <a:cubicBezTo>
                  <a:pt x="3498" y="725"/>
                  <a:pt x="3372" y="599"/>
                  <a:pt x="3372" y="442"/>
                </a:cubicBezTo>
                <a:lnTo>
                  <a:pt x="337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4" name="Google Shape;2514;p54"/>
          <p:cNvSpPr/>
          <p:nvPr/>
        </p:nvSpPr>
        <p:spPr>
          <a:xfrm>
            <a:off x="3727553" y="3558761"/>
            <a:ext cx="379040" cy="379040"/>
          </a:xfrm>
          <a:custGeom>
            <a:avLst/>
            <a:gdLst/>
            <a:ahLst/>
            <a:cxnLst/>
            <a:rect l="l" t="t" r="r" b="b"/>
            <a:pathLst>
              <a:path w="11658" h="11658" extrusionOk="0">
                <a:moveTo>
                  <a:pt x="6522" y="2048"/>
                </a:moveTo>
                <a:cubicBezTo>
                  <a:pt x="6743" y="2048"/>
                  <a:pt x="6900" y="2206"/>
                  <a:pt x="6900" y="2395"/>
                </a:cubicBezTo>
                <a:lnTo>
                  <a:pt x="6900" y="2899"/>
                </a:lnTo>
                <a:cubicBezTo>
                  <a:pt x="6995" y="2962"/>
                  <a:pt x="7089" y="2994"/>
                  <a:pt x="7152" y="3025"/>
                </a:cubicBezTo>
                <a:lnTo>
                  <a:pt x="7530" y="2678"/>
                </a:lnTo>
                <a:cubicBezTo>
                  <a:pt x="7578" y="2615"/>
                  <a:pt x="7664" y="2584"/>
                  <a:pt x="7755" y="2584"/>
                </a:cubicBezTo>
                <a:cubicBezTo>
                  <a:pt x="7845" y="2584"/>
                  <a:pt x="7940" y="2615"/>
                  <a:pt x="8003" y="2678"/>
                </a:cubicBezTo>
                <a:lnTo>
                  <a:pt x="8979" y="3655"/>
                </a:lnTo>
                <a:cubicBezTo>
                  <a:pt x="9106" y="3781"/>
                  <a:pt x="9106" y="4002"/>
                  <a:pt x="8979" y="4128"/>
                </a:cubicBezTo>
                <a:lnTo>
                  <a:pt x="8633" y="4474"/>
                </a:lnTo>
                <a:cubicBezTo>
                  <a:pt x="8664" y="4569"/>
                  <a:pt x="8696" y="4695"/>
                  <a:pt x="8727" y="4758"/>
                </a:cubicBezTo>
                <a:lnTo>
                  <a:pt x="9263" y="4758"/>
                </a:lnTo>
                <a:cubicBezTo>
                  <a:pt x="9452" y="4758"/>
                  <a:pt x="9610" y="4915"/>
                  <a:pt x="9610" y="5104"/>
                </a:cubicBezTo>
                <a:lnTo>
                  <a:pt x="9610" y="6491"/>
                </a:lnTo>
                <a:cubicBezTo>
                  <a:pt x="9610" y="6680"/>
                  <a:pt x="9452" y="6837"/>
                  <a:pt x="9263" y="6837"/>
                </a:cubicBezTo>
                <a:lnTo>
                  <a:pt x="8727" y="6837"/>
                </a:lnTo>
                <a:cubicBezTo>
                  <a:pt x="8696" y="6963"/>
                  <a:pt x="8664" y="7026"/>
                  <a:pt x="8633" y="7121"/>
                </a:cubicBezTo>
                <a:lnTo>
                  <a:pt x="8979" y="7467"/>
                </a:lnTo>
                <a:cubicBezTo>
                  <a:pt x="9106" y="7593"/>
                  <a:pt x="9106" y="7814"/>
                  <a:pt x="8979" y="7940"/>
                </a:cubicBezTo>
                <a:lnTo>
                  <a:pt x="8003" y="8916"/>
                </a:lnTo>
                <a:cubicBezTo>
                  <a:pt x="7940" y="8979"/>
                  <a:pt x="7845" y="9011"/>
                  <a:pt x="7755" y="9011"/>
                </a:cubicBezTo>
                <a:cubicBezTo>
                  <a:pt x="7664" y="9011"/>
                  <a:pt x="7578" y="8979"/>
                  <a:pt x="7530" y="8916"/>
                </a:cubicBezTo>
                <a:lnTo>
                  <a:pt x="7152" y="8570"/>
                </a:lnTo>
                <a:cubicBezTo>
                  <a:pt x="7089" y="8601"/>
                  <a:pt x="6963" y="8664"/>
                  <a:pt x="6900" y="8696"/>
                </a:cubicBezTo>
                <a:lnTo>
                  <a:pt x="6900" y="9200"/>
                </a:lnTo>
                <a:cubicBezTo>
                  <a:pt x="6900" y="9389"/>
                  <a:pt x="6743" y="9547"/>
                  <a:pt x="6522" y="9547"/>
                </a:cubicBezTo>
                <a:lnTo>
                  <a:pt x="5167" y="9547"/>
                </a:lnTo>
                <a:cubicBezTo>
                  <a:pt x="4947" y="9547"/>
                  <a:pt x="4789" y="9389"/>
                  <a:pt x="4789" y="9200"/>
                </a:cubicBezTo>
                <a:lnTo>
                  <a:pt x="4789" y="8696"/>
                </a:lnTo>
                <a:cubicBezTo>
                  <a:pt x="4695" y="8664"/>
                  <a:pt x="4600" y="8601"/>
                  <a:pt x="4537" y="8570"/>
                </a:cubicBezTo>
                <a:lnTo>
                  <a:pt x="4159" y="8916"/>
                </a:lnTo>
                <a:cubicBezTo>
                  <a:pt x="4112" y="8979"/>
                  <a:pt x="4025" y="9011"/>
                  <a:pt x="3935" y="9011"/>
                </a:cubicBezTo>
                <a:cubicBezTo>
                  <a:pt x="3844" y="9011"/>
                  <a:pt x="3750" y="8979"/>
                  <a:pt x="3687" y="8916"/>
                </a:cubicBezTo>
                <a:lnTo>
                  <a:pt x="2710" y="7940"/>
                </a:lnTo>
                <a:cubicBezTo>
                  <a:pt x="2584" y="7814"/>
                  <a:pt x="2584" y="7593"/>
                  <a:pt x="2710" y="7467"/>
                </a:cubicBezTo>
                <a:lnTo>
                  <a:pt x="3057" y="7121"/>
                </a:lnTo>
                <a:cubicBezTo>
                  <a:pt x="3025" y="7026"/>
                  <a:pt x="2994" y="6932"/>
                  <a:pt x="2962" y="6837"/>
                </a:cubicBezTo>
                <a:lnTo>
                  <a:pt x="2426" y="6837"/>
                </a:lnTo>
                <a:cubicBezTo>
                  <a:pt x="2237" y="6837"/>
                  <a:pt x="2080" y="6680"/>
                  <a:pt x="2080" y="6491"/>
                </a:cubicBezTo>
                <a:lnTo>
                  <a:pt x="2080" y="5104"/>
                </a:lnTo>
                <a:cubicBezTo>
                  <a:pt x="2080" y="4915"/>
                  <a:pt x="2237" y="4758"/>
                  <a:pt x="2426" y="4758"/>
                </a:cubicBezTo>
                <a:lnTo>
                  <a:pt x="2962" y="4758"/>
                </a:lnTo>
                <a:cubicBezTo>
                  <a:pt x="2994" y="4632"/>
                  <a:pt x="3025" y="4569"/>
                  <a:pt x="3057" y="4474"/>
                </a:cubicBezTo>
                <a:lnTo>
                  <a:pt x="2710" y="4128"/>
                </a:lnTo>
                <a:cubicBezTo>
                  <a:pt x="2584" y="4002"/>
                  <a:pt x="2584" y="3781"/>
                  <a:pt x="2710" y="3655"/>
                </a:cubicBezTo>
                <a:lnTo>
                  <a:pt x="3687" y="2678"/>
                </a:lnTo>
                <a:cubicBezTo>
                  <a:pt x="3750" y="2615"/>
                  <a:pt x="3844" y="2584"/>
                  <a:pt x="3935" y="2584"/>
                </a:cubicBezTo>
                <a:cubicBezTo>
                  <a:pt x="4025" y="2584"/>
                  <a:pt x="4112" y="2615"/>
                  <a:pt x="4159" y="2678"/>
                </a:cubicBezTo>
                <a:lnTo>
                  <a:pt x="4537" y="3025"/>
                </a:lnTo>
                <a:cubicBezTo>
                  <a:pt x="4600" y="2994"/>
                  <a:pt x="4726" y="2962"/>
                  <a:pt x="4789" y="2899"/>
                </a:cubicBezTo>
                <a:lnTo>
                  <a:pt x="4789" y="2395"/>
                </a:lnTo>
                <a:cubicBezTo>
                  <a:pt x="4789" y="2206"/>
                  <a:pt x="4947" y="2048"/>
                  <a:pt x="5167" y="2048"/>
                </a:cubicBezTo>
                <a:close/>
                <a:moveTo>
                  <a:pt x="5829" y="1"/>
                </a:moveTo>
                <a:cubicBezTo>
                  <a:pt x="2647" y="1"/>
                  <a:pt x="1" y="2647"/>
                  <a:pt x="1" y="5829"/>
                </a:cubicBezTo>
                <a:cubicBezTo>
                  <a:pt x="1" y="6837"/>
                  <a:pt x="284" y="7877"/>
                  <a:pt x="820" y="8790"/>
                </a:cubicBezTo>
                <a:lnTo>
                  <a:pt x="32" y="11185"/>
                </a:lnTo>
                <a:cubicBezTo>
                  <a:pt x="1" y="11311"/>
                  <a:pt x="32" y="11468"/>
                  <a:pt x="127" y="11531"/>
                </a:cubicBezTo>
                <a:cubicBezTo>
                  <a:pt x="174" y="11602"/>
                  <a:pt x="274" y="11638"/>
                  <a:pt x="375" y="11638"/>
                </a:cubicBezTo>
                <a:cubicBezTo>
                  <a:pt x="408" y="11638"/>
                  <a:pt x="442" y="11634"/>
                  <a:pt x="473" y="11626"/>
                </a:cubicBezTo>
                <a:lnTo>
                  <a:pt x="2868" y="10838"/>
                </a:lnTo>
                <a:cubicBezTo>
                  <a:pt x="3781" y="11374"/>
                  <a:pt x="4789" y="11657"/>
                  <a:pt x="5829" y="11657"/>
                </a:cubicBezTo>
                <a:cubicBezTo>
                  <a:pt x="9011" y="11657"/>
                  <a:pt x="11657" y="9011"/>
                  <a:pt x="11657" y="5829"/>
                </a:cubicBezTo>
                <a:cubicBezTo>
                  <a:pt x="11657" y="2584"/>
                  <a:pt x="9011" y="1"/>
                  <a:pt x="582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5" name="Google Shape;2515;p54"/>
          <p:cNvSpPr/>
          <p:nvPr/>
        </p:nvSpPr>
        <p:spPr>
          <a:xfrm>
            <a:off x="3883259" y="3714467"/>
            <a:ext cx="66620" cy="66620"/>
          </a:xfrm>
          <a:custGeom>
            <a:avLst/>
            <a:gdLst/>
            <a:ahLst/>
            <a:cxnLst/>
            <a:rect l="l" t="t" r="r" b="b"/>
            <a:pathLst>
              <a:path w="2049" h="2049" extrusionOk="0">
                <a:moveTo>
                  <a:pt x="1040" y="0"/>
                </a:moveTo>
                <a:cubicBezTo>
                  <a:pt x="473" y="0"/>
                  <a:pt x="0" y="473"/>
                  <a:pt x="0" y="1040"/>
                </a:cubicBezTo>
                <a:cubicBezTo>
                  <a:pt x="0" y="1576"/>
                  <a:pt x="473" y="2048"/>
                  <a:pt x="1040" y="2048"/>
                </a:cubicBezTo>
                <a:cubicBezTo>
                  <a:pt x="1576" y="2048"/>
                  <a:pt x="2048" y="1576"/>
                  <a:pt x="2048" y="1040"/>
                </a:cubicBezTo>
                <a:cubicBezTo>
                  <a:pt x="2048" y="441"/>
                  <a:pt x="1576" y="0"/>
                  <a:pt x="104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7" name="Google Shape;2517;p54"/>
          <p:cNvSpPr/>
          <p:nvPr/>
        </p:nvSpPr>
        <p:spPr>
          <a:xfrm>
            <a:off x="8163754" y="5208450"/>
            <a:ext cx="244859" cy="242809"/>
          </a:xfrm>
          <a:custGeom>
            <a:avLst/>
            <a:gdLst/>
            <a:ahLst/>
            <a:cxnLst/>
            <a:rect l="l" t="t" r="r" b="b"/>
            <a:pathLst>
              <a:path w="7531" h="7468" extrusionOk="0">
                <a:moveTo>
                  <a:pt x="3750" y="663"/>
                </a:moveTo>
                <a:cubicBezTo>
                  <a:pt x="3939" y="663"/>
                  <a:pt x="4096" y="820"/>
                  <a:pt x="4096" y="1009"/>
                </a:cubicBezTo>
                <a:lnTo>
                  <a:pt x="4096" y="3624"/>
                </a:lnTo>
                <a:lnTo>
                  <a:pt x="5357" y="4884"/>
                </a:lnTo>
                <a:cubicBezTo>
                  <a:pt x="5514" y="5042"/>
                  <a:pt x="5514" y="5231"/>
                  <a:pt x="5357" y="5357"/>
                </a:cubicBezTo>
                <a:cubicBezTo>
                  <a:pt x="5294" y="5420"/>
                  <a:pt x="5207" y="5451"/>
                  <a:pt x="5120" y="5451"/>
                </a:cubicBezTo>
                <a:cubicBezTo>
                  <a:pt x="5034" y="5451"/>
                  <a:pt x="4947" y="5420"/>
                  <a:pt x="4884" y="5357"/>
                </a:cubicBezTo>
                <a:lnTo>
                  <a:pt x="3498" y="3971"/>
                </a:lnTo>
                <a:cubicBezTo>
                  <a:pt x="3435" y="3908"/>
                  <a:pt x="3403" y="3813"/>
                  <a:pt x="3403" y="3719"/>
                </a:cubicBezTo>
                <a:lnTo>
                  <a:pt x="3403" y="1009"/>
                </a:lnTo>
                <a:cubicBezTo>
                  <a:pt x="3403" y="820"/>
                  <a:pt x="3561" y="663"/>
                  <a:pt x="3750" y="663"/>
                </a:cubicBezTo>
                <a:close/>
                <a:moveTo>
                  <a:pt x="3750" y="1"/>
                </a:moveTo>
                <a:cubicBezTo>
                  <a:pt x="1671" y="1"/>
                  <a:pt x="1" y="1702"/>
                  <a:pt x="1" y="3750"/>
                </a:cubicBezTo>
                <a:cubicBezTo>
                  <a:pt x="1" y="5829"/>
                  <a:pt x="1702" y="7468"/>
                  <a:pt x="3750" y="7468"/>
                </a:cubicBezTo>
                <a:cubicBezTo>
                  <a:pt x="5798" y="7468"/>
                  <a:pt x="7499" y="5798"/>
                  <a:pt x="7499" y="3750"/>
                </a:cubicBezTo>
                <a:cubicBezTo>
                  <a:pt x="7530" y="1702"/>
                  <a:pt x="5829" y="1"/>
                  <a:pt x="375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18" name="Google Shape;2518;p54"/>
          <p:cNvSpPr/>
          <p:nvPr/>
        </p:nvSpPr>
        <p:spPr>
          <a:xfrm>
            <a:off x="8096160" y="5140853"/>
            <a:ext cx="380048" cy="379040"/>
          </a:xfrm>
          <a:custGeom>
            <a:avLst/>
            <a:gdLst/>
            <a:ahLst/>
            <a:cxnLst/>
            <a:rect l="l" t="t" r="r" b="b"/>
            <a:pathLst>
              <a:path w="11689" h="11658" extrusionOk="0">
                <a:moveTo>
                  <a:pt x="5829" y="1355"/>
                </a:moveTo>
                <a:cubicBezTo>
                  <a:pt x="8286" y="1355"/>
                  <a:pt x="10271" y="3372"/>
                  <a:pt x="10271" y="5829"/>
                </a:cubicBezTo>
                <a:cubicBezTo>
                  <a:pt x="10271" y="8286"/>
                  <a:pt x="8318" y="10271"/>
                  <a:pt x="5829" y="10271"/>
                </a:cubicBezTo>
                <a:cubicBezTo>
                  <a:pt x="3403" y="10271"/>
                  <a:pt x="1387" y="8255"/>
                  <a:pt x="1387" y="5829"/>
                </a:cubicBezTo>
                <a:cubicBezTo>
                  <a:pt x="1387" y="3372"/>
                  <a:pt x="3371" y="1355"/>
                  <a:pt x="5829" y="1355"/>
                </a:cubicBezTo>
                <a:close/>
                <a:moveTo>
                  <a:pt x="5829" y="1"/>
                </a:moveTo>
                <a:cubicBezTo>
                  <a:pt x="2647" y="1"/>
                  <a:pt x="0" y="2616"/>
                  <a:pt x="0" y="5829"/>
                </a:cubicBezTo>
                <a:cubicBezTo>
                  <a:pt x="0" y="9011"/>
                  <a:pt x="2647" y="11657"/>
                  <a:pt x="5829" y="11657"/>
                </a:cubicBezTo>
                <a:cubicBezTo>
                  <a:pt x="9011" y="11657"/>
                  <a:pt x="11657" y="9011"/>
                  <a:pt x="11657" y="5829"/>
                </a:cubicBezTo>
                <a:cubicBezTo>
                  <a:pt x="11689" y="2616"/>
                  <a:pt x="9042" y="1"/>
                  <a:pt x="582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8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434281B-23C6-46DA-8DC7-72D3C96651D8}"/>
              </a:ext>
            </a:extLst>
          </p:cNvPr>
          <p:cNvSpPr txBox="1"/>
          <p:nvPr/>
        </p:nvSpPr>
        <p:spPr>
          <a:xfrm>
            <a:off x="1062978" y="1710738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8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A8691B-99A1-4D5A-9056-57263A025774}"/>
              </a:ext>
            </a:extLst>
          </p:cNvPr>
          <p:cNvSpPr txBox="1"/>
          <p:nvPr/>
        </p:nvSpPr>
        <p:spPr>
          <a:xfrm>
            <a:off x="999195" y="3251954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8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D3046BB-03C4-4339-810A-36849C3235DD}"/>
              </a:ext>
            </a:extLst>
          </p:cNvPr>
          <p:cNvSpPr txBox="1"/>
          <p:nvPr/>
        </p:nvSpPr>
        <p:spPr>
          <a:xfrm>
            <a:off x="1034926" y="4925417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8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3514178-8B3F-4A0A-B8B8-FA6F8CD4E5A3}"/>
              </a:ext>
            </a:extLst>
          </p:cNvPr>
          <p:cNvSpPr txBox="1"/>
          <p:nvPr/>
        </p:nvSpPr>
        <p:spPr>
          <a:xfrm>
            <a:off x="8912962" y="1673900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8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38D4AA0-FA4A-4AB7-96EC-21E1A89EDD4A}"/>
              </a:ext>
            </a:extLst>
          </p:cNvPr>
          <p:cNvSpPr txBox="1"/>
          <p:nvPr/>
        </p:nvSpPr>
        <p:spPr>
          <a:xfrm>
            <a:off x="8859634" y="3203897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9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4802527-56B8-4D91-8AE7-5AB8B410DC99}"/>
              </a:ext>
            </a:extLst>
          </p:cNvPr>
          <p:cNvSpPr txBox="1"/>
          <p:nvPr/>
        </p:nvSpPr>
        <p:spPr>
          <a:xfrm>
            <a:off x="8859634" y="4823176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91" name="Google Shape;1496;p40">
            <a:extLst>
              <a:ext uri="{FF2B5EF4-FFF2-40B4-BE49-F238E27FC236}">
                <a16:creationId xmlns:a16="http://schemas.microsoft.com/office/drawing/2014/main" id="{8983648E-CA22-456A-970A-89176429D1FF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6E60314E-05AF-407F-BF49-448321FE6926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íṣ1îḋé">
            <a:extLst>
              <a:ext uri="{FF2B5EF4-FFF2-40B4-BE49-F238E27FC236}">
                <a16:creationId xmlns:a16="http://schemas.microsoft.com/office/drawing/2014/main" id="{4F65CAD0-83DF-43DD-A36A-C5B9730EB469}"/>
              </a:ext>
            </a:extLst>
          </p:cNvPr>
          <p:cNvSpPr/>
          <p:nvPr/>
        </p:nvSpPr>
        <p:spPr>
          <a:xfrm>
            <a:off x="791321" y="1"/>
            <a:ext cx="4053563" cy="6125029"/>
          </a:xfrm>
          <a:prstGeom prst="rect">
            <a:avLst/>
          </a:prstGeom>
          <a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31256" r="-30912"/>
            </a:stretch>
          </a:blipFill>
          <a:ln w="38100">
            <a:noFill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78" name="Rectangle 34">
            <a:extLst>
              <a:ext uri="{FF2B5EF4-FFF2-40B4-BE49-F238E27FC236}">
                <a16:creationId xmlns:a16="http://schemas.microsoft.com/office/drawing/2014/main" id="{D1F89E4E-E549-4B72-B0C1-B89855BD0328}"/>
              </a:ext>
            </a:extLst>
          </p:cNvPr>
          <p:cNvSpPr/>
          <p:nvPr/>
        </p:nvSpPr>
        <p:spPr>
          <a:xfrm flipH="1" flipV="1">
            <a:off x="0" y="3553242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562E07FC-6BAE-43C3-9C70-3CD3DB4FC862}"/>
              </a:ext>
            </a:extLst>
          </p:cNvPr>
          <p:cNvSpPr/>
          <p:nvPr/>
        </p:nvSpPr>
        <p:spPr>
          <a:xfrm>
            <a:off x="791321" y="1"/>
            <a:ext cx="4053563" cy="612502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7" name="Freeform 104">
            <a:extLst>
              <a:ext uri="{FF2B5EF4-FFF2-40B4-BE49-F238E27FC236}">
                <a16:creationId xmlns:a16="http://schemas.microsoft.com/office/drawing/2014/main" id="{FA4E45B2-3D0D-4E4D-B26A-634429D8F186}"/>
              </a:ext>
            </a:extLst>
          </p:cNvPr>
          <p:cNvSpPr>
            <a:spLocks noEditPoints="1"/>
          </p:cNvSpPr>
          <p:nvPr/>
        </p:nvSpPr>
        <p:spPr bwMode="auto">
          <a:xfrm>
            <a:off x="2482619" y="1103366"/>
            <a:ext cx="670968" cy="673922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2" name="文本框 271">
            <a:extLst>
              <a:ext uri="{FF2B5EF4-FFF2-40B4-BE49-F238E27FC236}">
                <a16:creationId xmlns:a16="http://schemas.microsoft.com/office/drawing/2014/main" id="{9EF93C4E-CBFA-4060-8575-7CC52AEF45BE}"/>
              </a:ext>
            </a:extLst>
          </p:cNvPr>
          <p:cNvSpPr txBox="1"/>
          <p:nvPr/>
        </p:nvSpPr>
        <p:spPr>
          <a:xfrm>
            <a:off x="1316175" y="2535319"/>
            <a:ext cx="293513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400" u="sng" dirty="0">
                <a:solidFill>
                  <a:schemeClr val="bg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27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D1B3229-B1FA-4EBF-B856-04BDBD4B7CB9}"/>
              </a:ext>
            </a:extLst>
          </p:cNvPr>
          <p:cNvSpPr txBox="1"/>
          <p:nvPr/>
        </p:nvSpPr>
        <p:spPr>
          <a:xfrm>
            <a:off x="1734169" y="3413962"/>
            <a:ext cx="2167867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chemeClr val="bg1"/>
                </a:solidFill>
                <a:latin typeface="+mj-ea"/>
                <a:ea typeface="+mj-ea"/>
                <a:cs typeface="+mn-ea"/>
                <a:sym typeface="+mn-lt"/>
              </a:rPr>
              <a:t>Synergistically utilize technically sound portals with</a:t>
            </a:r>
            <a:r>
              <a:rPr lang="en-US" sz="1000" kern="0" dirty="0">
                <a:solidFill>
                  <a:schemeClr val="bg1"/>
                </a:solidFill>
                <a:latin typeface="+mj-ea"/>
                <a:ea typeface="+mj-ea"/>
                <a:cs typeface="+mn-ea"/>
                <a:sym typeface="+mn-lt"/>
              </a:rPr>
              <a:t>,</a:t>
            </a:r>
            <a:r>
              <a:rPr lang="en-US" altLang="zh-CN" sz="1000" kern="0" dirty="0">
                <a:solidFill>
                  <a:schemeClr val="bg1"/>
                </a:solidFill>
                <a:latin typeface="+mj-ea"/>
                <a:ea typeface="+mj-ea"/>
                <a:cs typeface="+mn-ea"/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276" name="isļîďe">
            <a:extLst>
              <a:ext uri="{FF2B5EF4-FFF2-40B4-BE49-F238E27FC236}">
                <a16:creationId xmlns:a16="http://schemas.microsoft.com/office/drawing/2014/main" id="{DEB141E2-F03E-4A78-B094-1F676FC82643}"/>
              </a:ext>
            </a:extLst>
          </p:cNvPr>
          <p:cNvSpPr/>
          <p:nvPr/>
        </p:nvSpPr>
        <p:spPr>
          <a:xfrm>
            <a:off x="6457903" y="1114354"/>
            <a:ext cx="331200" cy="331334"/>
          </a:xfrm>
          <a:custGeom>
            <a:avLst/>
            <a:gdLst>
              <a:gd name="T0" fmla="*/ 4753 w 9506"/>
              <a:gd name="T1" fmla="*/ 0 h 9506"/>
              <a:gd name="T2" fmla="*/ 0 w 9506"/>
              <a:gd name="T3" fmla="*/ 4753 h 9506"/>
              <a:gd name="T4" fmla="*/ 4753 w 9506"/>
              <a:gd name="T5" fmla="*/ 9506 h 9506"/>
              <a:gd name="T6" fmla="*/ 9506 w 9506"/>
              <a:gd name="T7" fmla="*/ 4753 h 9506"/>
              <a:gd name="T8" fmla="*/ 4753 w 9506"/>
              <a:gd name="T9" fmla="*/ 0 h 9506"/>
              <a:gd name="T10" fmla="*/ 4019 w 9506"/>
              <a:gd name="T11" fmla="*/ 6437 h 9506"/>
              <a:gd name="T12" fmla="*/ 3818 w 9506"/>
              <a:gd name="T13" fmla="*/ 6538 h 9506"/>
              <a:gd name="T14" fmla="*/ 3615 w 9506"/>
              <a:gd name="T15" fmla="*/ 6435 h 9506"/>
              <a:gd name="T16" fmla="*/ 2335 w 9506"/>
              <a:gd name="T17" fmla="*/ 5155 h 9506"/>
              <a:gd name="T18" fmla="*/ 2742 w 9506"/>
              <a:gd name="T19" fmla="*/ 4748 h 9506"/>
              <a:gd name="T20" fmla="*/ 3821 w 9506"/>
              <a:gd name="T21" fmla="*/ 5827 h 9506"/>
              <a:gd name="T22" fmla="*/ 6673 w 9506"/>
              <a:gd name="T23" fmla="*/ 2955 h 9506"/>
              <a:gd name="T24" fmla="*/ 7072 w 9506"/>
              <a:gd name="T25" fmla="*/ 3368 h 9506"/>
              <a:gd name="T26" fmla="*/ 4019 w 9506"/>
              <a:gd name="T27" fmla="*/ 6437 h 9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506" h="9506">
                <a:moveTo>
                  <a:pt x="4753" y="0"/>
                </a:moveTo>
                <a:cubicBezTo>
                  <a:pt x="2127" y="0"/>
                  <a:pt x="0" y="2127"/>
                  <a:pt x="0" y="4753"/>
                </a:cubicBezTo>
                <a:cubicBezTo>
                  <a:pt x="0" y="7379"/>
                  <a:pt x="2127" y="9506"/>
                  <a:pt x="4753" y="9506"/>
                </a:cubicBezTo>
                <a:cubicBezTo>
                  <a:pt x="7379" y="9506"/>
                  <a:pt x="9506" y="7379"/>
                  <a:pt x="9506" y="4753"/>
                </a:cubicBezTo>
                <a:cubicBezTo>
                  <a:pt x="9506" y="2127"/>
                  <a:pt x="7379" y="0"/>
                  <a:pt x="4753" y="0"/>
                </a:cubicBezTo>
                <a:close/>
                <a:moveTo>
                  <a:pt x="4019" y="6437"/>
                </a:moveTo>
                <a:cubicBezTo>
                  <a:pt x="3965" y="6492"/>
                  <a:pt x="3887" y="6538"/>
                  <a:pt x="3818" y="6538"/>
                </a:cubicBezTo>
                <a:cubicBezTo>
                  <a:pt x="3750" y="6538"/>
                  <a:pt x="3672" y="6490"/>
                  <a:pt x="3615" y="6435"/>
                </a:cubicBezTo>
                <a:lnTo>
                  <a:pt x="2335" y="5155"/>
                </a:lnTo>
                <a:lnTo>
                  <a:pt x="2742" y="4748"/>
                </a:lnTo>
                <a:lnTo>
                  <a:pt x="3821" y="5827"/>
                </a:lnTo>
                <a:lnTo>
                  <a:pt x="6673" y="2955"/>
                </a:lnTo>
                <a:lnTo>
                  <a:pt x="7072" y="3368"/>
                </a:lnTo>
                <a:lnTo>
                  <a:pt x="4019" y="6437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27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BCB0C95-B8CE-4E9B-9274-23E4D978BE01}"/>
              </a:ext>
            </a:extLst>
          </p:cNvPr>
          <p:cNvSpPr txBox="1"/>
          <p:nvPr/>
        </p:nvSpPr>
        <p:spPr>
          <a:xfrm>
            <a:off x="7063683" y="946115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280" name="isļîďe">
            <a:extLst>
              <a:ext uri="{FF2B5EF4-FFF2-40B4-BE49-F238E27FC236}">
                <a16:creationId xmlns:a16="http://schemas.microsoft.com/office/drawing/2014/main" id="{FD920C56-021B-4C91-8286-D5877D3997EF}"/>
              </a:ext>
            </a:extLst>
          </p:cNvPr>
          <p:cNvSpPr/>
          <p:nvPr/>
        </p:nvSpPr>
        <p:spPr>
          <a:xfrm>
            <a:off x="6457903" y="2187543"/>
            <a:ext cx="331200" cy="331334"/>
          </a:xfrm>
          <a:custGeom>
            <a:avLst/>
            <a:gdLst>
              <a:gd name="T0" fmla="*/ 4753 w 9506"/>
              <a:gd name="T1" fmla="*/ 0 h 9506"/>
              <a:gd name="T2" fmla="*/ 0 w 9506"/>
              <a:gd name="T3" fmla="*/ 4753 h 9506"/>
              <a:gd name="T4" fmla="*/ 4753 w 9506"/>
              <a:gd name="T5" fmla="*/ 9506 h 9506"/>
              <a:gd name="T6" fmla="*/ 9506 w 9506"/>
              <a:gd name="T7" fmla="*/ 4753 h 9506"/>
              <a:gd name="T8" fmla="*/ 4753 w 9506"/>
              <a:gd name="T9" fmla="*/ 0 h 9506"/>
              <a:gd name="T10" fmla="*/ 4019 w 9506"/>
              <a:gd name="T11" fmla="*/ 6437 h 9506"/>
              <a:gd name="T12" fmla="*/ 3818 w 9506"/>
              <a:gd name="T13" fmla="*/ 6538 h 9506"/>
              <a:gd name="T14" fmla="*/ 3615 w 9506"/>
              <a:gd name="T15" fmla="*/ 6435 h 9506"/>
              <a:gd name="T16" fmla="*/ 2335 w 9506"/>
              <a:gd name="T17" fmla="*/ 5155 h 9506"/>
              <a:gd name="T18" fmla="*/ 2742 w 9506"/>
              <a:gd name="T19" fmla="*/ 4748 h 9506"/>
              <a:gd name="T20" fmla="*/ 3821 w 9506"/>
              <a:gd name="T21" fmla="*/ 5827 h 9506"/>
              <a:gd name="T22" fmla="*/ 6673 w 9506"/>
              <a:gd name="T23" fmla="*/ 2955 h 9506"/>
              <a:gd name="T24" fmla="*/ 7072 w 9506"/>
              <a:gd name="T25" fmla="*/ 3368 h 9506"/>
              <a:gd name="T26" fmla="*/ 4019 w 9506"/>
              <a:gd name="T27" fmla="*/ 6437 h 9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506" h="9506">
                <a:moveTo>
                  <a:pt x="4753" y="0"/>
                </a:moveTo>
                <a:cubicBezTo>
                  <a:pt x="2127" y="0"/>
                  <a:pt x="0" y="2127"/>
                  <a:pt x="0" y="4753"/>
                </a:cubicBezTo>
                <a:cubicBezTo>
                  <a:pt x="0" y="7379"/>
                  <a:pt x="2127" y="9506"/>
                  <a:pt x="4753" y="9506"/>
                </a:cubicBezTo>
                <a:cubicBezTo>
                  <a:pt x="7379" y="9506"/>
                  <a:pt x="9506" y="7379"/>
                  <a:pt x="9506" y="4753"/>
                </a:cubicBezTo>
                <a:cubicBezTo>
                  <a:pt x="9506" y="2127"/>
                  <a:pt x="7379" y="0"/>
                  <a:pt x="4753" y="0"/>
                </a:cubicBezTo>
                <a:close/>
                <a:moveTo>
                  <a:pt x="4019" y="6437"/>
                </a:moveTo>
                <a:cubicBezTo>
                  <a:pt x="3965" y="6492"/>
                  <a:pt x="3887" y="6538"/>
                  <a:pt x="3818" y="6538"/>
                </a:cubicBezTo>
                <a:cubicBezTo>
                  <a:pt x="3750" y="6538"/>
                  <a:pt x="3672" y="6490"/>
                  <a:pt x="3615" y="6435"/>
                </a:cubicBezTo>
                <a:lnTo>
                  <a:pt x="2335" y="5155"/>
                </a:lnTo>
                <a:lnTo>
                  <a:pt x="2742" y="4748"/>
                </a:lnTo>
                <a:lnTo>
                  <a:pt x="3821" y="5827"/>
                </a:lnTo>
                <a:lnTo>
                  <a:pt x="6673" y="2955"/>
                </a:lnTo>
                <a:lnTo>
                  <a:pt x="7072" y="3368"/>
                </a:lnTo>
                <a:lnTo>
                  <a:pt x="4019" y="6437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28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E71C2CA-19E2-4DD7-A56C-7C7800D7FADA}"/>
              </a:ext>
            </a:extLst>
          </p:cNvPr>
          <p:cNvSpPr txBox="1"/>
          <p:nvPr/>
        </p:nvSpPr>
        <p:spPr>
          <a:xfrm>
            <a:off x="7063683" y="2019304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282" name="isļîďe">
            <a:extLst>
              <a:ext uri="{FF2B5EF4-FFF2-40B4-BE49-F238E27FC236}">
                <a16:creationId xmlns:a16="http://schemas.microsoft.com/office/drawing/2014/main" id="{8810DA06-07B5-44BA-BD9E-89FAA438B7A5}"/>
              </a:ext>
            </a:extLst>
          </p:cNvPr>
          <p:cNvSpPr/>
          <p:nvPr/>
        </p:nvSpPr>
        <p:spPr>
          <a:xfrm>
            <a:off x="6457903" y="3263363"/>
            <a:ext cx="331200" cy="331334"/>
          </a:xfrm>
          <a:custGeom>
            <a:avLst/>
            <a:gdLst>
              <a:gd name="T0" fmla="*/ 4753 w 9506"/>
              <a:gd name="T1" fmla="*/ 0 h 9506"/>
              <a:gd name="T2" fmla="*/ 0 w 9506"/>
              <a:gd name="T3" fmla="*/ 4753 h 9506"/>
              <a:gd name="T4" fmla="*/ 4753 w 9506"/>
              <a:gd name="T5" fmla="*/ 9506 h 9506"/>
              <a:gd name="T6" fmla="*/ 9506 w 9506"/>
              <a:gd name="T7" fmla="*/ 4753 h 9506"/>
              <a:gd name="T8" fmla="*/ 4753 w 9506"/>
              <a:gd name="T9" fmla="*/ 0 h 9506"/>
              <a:gd name="T10" fmla="*/ 4019 w 9506"/>
              <a:gd name="T11" fmla="*/ 6437 h 9506"/>
              <a:gd name="T12" fmla="*/ 3818 w 9506"/>
              <a:gd name="T13" fmla="*/ 6538 h 9506"/>
              <a:gd name="T14" fmla="*/ 3615 w 9506"/>
              <a:gd name="T15" fmla="*/ 6435 h 9506"/>
              <a:gd name="T16" fmla="*/ 2335 w 9506"/>
              <a:gd name="T17" fmla="*/ 5155 h 9506"/>
              <a:gd name="T18" fmla="*/ 2742 w 9506"/>
              <a:gd name="T19" fmla="*/ 4748 h 9506"/>
              <a:gd name="T20" fmla="*/ 3821 w 9506"/>
              <a:gd name="T21" fmla="*/ 5827 h 9506"/>
              <a:gd name="T22" fmla="*/ 6673 w 9506"/>
              <a:gd name="T23" fmla="*/ 2955 h 9506"/>
              <a:gd name="T24" fmla="*/ 7072 w 9506"/>
              <a:gd name="T25" fmla="*/ 3368 h 9506"/>
              <a:gd name="T26" fmla="*/ 4019 w 9506"/>
              <a:gd name="T27" fmla="*/ 6437 h 9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506" h="9506">
                <a:moveTo>
                  <a:pt x="4753" y="0"/>
                </a:moveTo>
                <a:cubicBezTo>
                  <a:pt x="2127" y="0"/>
                  <a:pt x="0" y="2127"/>
                  <a:pt x="0" y="4753"/>
                </a:cubicBezTo>
                <a:cubicBezTo>
                  <a:pt x="0" y="7379"/>
                  <a:pt x="2127" y="9506"/>
                  <a:pt x="4753" y="9506"/>
                </a:cubicBezTo>
                <a:cubicBezTo>
                  <a:pt x="7379" y="9506"/>
                  <a:pt x="9506" y="7379"/>
                  <a:pt x="9506" y="4753"/>
                </a:cubicBezTo>
                <a:cubicBezTo>
                  <a:pt x="9506" y="2127"/>
                  <a:pt x="7379" y="0"/>
                  <a:pt x="4753" y="0"/>
                </a:cubicBezTo>
                <a:close/>
                <a:moveTo>
                  <a:pt x="4019" y="6437"/>
                </a:moveTo>
                <a:cubicBezTo>
                  <a:pt x="3965" y="6492"/>
                  <a:pt x="3887" y="6538"/>
                  <a:pt x="3818" y="6538"/>
                </a:cubicBezTo>
                <a:cubicBezTo>
                  <a:pt x="3750" y="6538"/>
                  <a:pt x="3672" y="6490"/>
                  <a:pt x="3615" y="6435"/>
                </a:cubicBezTo>
                <a:lnTo>
                  <a:pt x="2335" y="5155"/>
                </a:lnTo>
                <a:lnTo>
                  <a:pt x="2742" y="4748"/>
                </a:lnTo>
                <a:lnTo>
                  <a:pt x="3821" y="5827"/>
                </a:lnTo>
                <a:lnTo>
                  <a:pt x="6673" y="2955"/>
                </a:lnTo>
                <a:lnTo>
                  <a:pt x="7072" y="3368"/>
                </a:lnTo>
                <a:lnTo>
                  <a:pt x="4019" y="6437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28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C5B8C5C-7E6C-416A-ACA9-A2AA0DB016B5}"/>
              </a:ext>
            </a:extLst>
          </p:cNvPr>
          <p:cNvSpPr txBox="1"/>
          <p:nvPr/>
        </p:nvSpPr>
        <p:spPr>
          <a:xfrm>
            <a:off x="7063683" y="3095124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284" name="isļîďe">
            <a:extLst>
              <a:ext uri="{FF2B5EF4-FFF2-40B4-BE49-F238E27FC236}">
                <a16:creationId xmlns:a16="http://schemas.microsoft.com/office/drawing/2014/main" id="{F35FBC72-F6DA-4494-B61E-10A63148AE74}"/>
              </a:ext>
            </a:extLst>
          </p:cNvPr>
          <p:cNvSpPr/>
          <p:nvPr/>
        </p:nvSpPr>
        <p:spPr>
          <a:xfrm>
            <a:off x="6457903" y="4336552"/>
            <a:ext cx="331200" cy="331334"/>
          </a:xfrm>
          <a:custGeom>
            <a:avLst/>
            <a:gdLst>
              <a:gd name="T0" fmla="*/ 4753 w 9506"/>
              <a:gd name="T1" fmla="*/ 0 h 9506"/>
              <a:gd name="T2" fmla="*/ 0 w 9506"/>
              <a:gd name="T3" fmla="*/ 4753 h 9506"/>
              <a:gd name="T4" fmla="*/ 4753 w 9506"/>
              <a:gd name="T5" fmla="*/ 9506 h 9506"/>
              <a:gd name="T6" fmla="*/ 9506 w 9506"/>
              <a:gd name="T7" fmla="*/ 4753 h 9506"/>
              <a:gd name="T8" fmla="*/ 4753 w 9506"/>
              <a:gd name="T9" fmla="*/ 0 h 9506"/>
              <a:gd name="T10" fmla="*/ 4019 w 9506"/>
              <a:gd name="T11" fmla="*/ 6437 h 9506"/>
              <a:gd name="T12" fmla="*/ 3818 w 9506"/>
              <a:gd name="T13" fmla="*/ 6538 h 9506"/>
              <a:gd name="T14" fmla="*/ 3615 w 9506"/>
              <a:gd name="T15" fmla="*/ 6435 h 9506"/>
              <a:gd name="T16" fmla="*/ 2335 w 9506"/>
              <a:gd name="T17" fmla="*/ 5155 h 9506"/>
              <a:gd name="T18" fmla="*/ 2742 w 9506"/>
              <a:gd name="T19" fmla="*/ 4748 h 9506"/>
              <a:gd name="T20" fmla="*/ 3821 w 9506"/>
              <a:gd name="T21" fmla="*/ 5827 h 9506"/>
              <a:gd name="T22" fmla="*/ 6673 w 9506"/>
              <a:gd name="T23" fmla="*/ 2955 h 9506"/>
              <a:gd name="T24" fmla="*/ 7072 w 9506"/>
              <a:gd name="T25" fmla="*/ 3368 h 9506"/>
              <a:gd name="T26" fmla="*/ 4019 w 9506"/>
              <a:gd name="T27" fmla="*/ 6437 h 9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506" h="9506">
                <a:moveTo>
                  <a:pt x="4753" y="0"/>
                </a:moveTo>
                <a:cubicBezTo>
                  <a:pt x="2127" y="0"/>
                  <a:pt x="0" y="2127"/>
                  <a:pt x="0" y="4753"/>
                </a:cubicBezTo>
                <a:cubicBezTo>
                  <a:pt x="0" y="7379"/>
                  <a:pt x="2127" y="9506"/>
                  <a:pt x="4753" y="9506"/>
                </a:cubicBezTo>
                <a:cubicBezTo>
                  <a:pt x="7379" y="9506"/>
                  <a:pt x="9506" y="7379"/>
                  <a:pt x="9506" y="4753"/>
                </a:cubicBezTo>
                <a:cubicBezTo>
                  <a:pt x="9506" y="2127"/>
                  <a:pt x="7379" y="0"/>
                  <a:pt x="4753" y="0"/>
                </a:cubicBezTo>
                <a:close/>
                <a:moveTo>
                  <a:pt x="4019" y="6437"/>
                </a:moveTo>
                <a:cubicBezTo>
                  <a:pt x="3965" y="6492"/>
                  <a:pt x="3887" y="6538"/>
                  <a:pt x="3818" y="6538"/>
                </a:cubicBezTo>
                <a:cubicBezTo>
                  <a:pt x="3750" y="6538"/>
                  <a:pt x="3672" y="6490"/>
                  <a:pt x="3615" y="6435"/>
                </a:cubicBezTo>
                <a:lnTo>
                  <a:pt x="2335" y="5155"/>
                </a:lnTo>
                <a:lnTo>
                  <a:pt x="2742" y="4748"/>
                </a:lnTo>
                <a:lnTo>
                  <a:pt x="3821" y="5827"/>
                </a:lnTo>
                <a:lnTo>
                  <a:pt x="6673" y="2955"/>
                </a:lnTo>
                <a:lnTo>
                  <a:pt x="7072" y="3368"/>
                </a:lnTo>
                <a:lnTo>
                  <a:pt x="4019" y="6437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28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2199E38-8629-4353-BEE5-39C39847BEEB}"/>
              </a:ext>
            </a:extLst>
          </p:cNvPr>
          <p:cNvSpPr txBox="1"/>
          <p:nvPr/>
        </p:nvSpPr>
        <p:spPr>
          <a:xfrm>
            <a:off x="7063683" y="4168313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286" name="isļîďe">
            <a:extLst>
              <a:ext uri="{FF2B5EF4-FFF2-40B4-BE49-F238E27FC236}">
                <a16:creationId xmlns:a16="http://schemas.microsoft.com/office/drawing/2014/main" id="{D1EE6AAB-83E2-4185-B0FC-9F38FE283DAF}"/>
              </a:ext>
            </a:extLst>
          </p:cNvPr>
          <p:cNvSpPr/>
          <p:nvPr/>
        </p:nvSpPr>
        <p:spPr>
          <a:xfrm>
            <a:off x="6457903" y="5412313"/>
            <a:ext cx="331200" cy="331334"/>
          </a:xfrm>
          <a:custGeom>
            <a:avLst/>
            <a:gdLst>
              <a:gd name="T0" fmla="*/ 4753 w 9506"/>
              <a:gd name="T1" fmla="*/ 0 h 9506"/>
              <a:gd name="T2" fmla="*/ 0 w 9506"/>
              <a:gd name="T3" fmla="*/ 4753 h 9506"/>
              <a:gd name="T4" fmla="*/ 4753 w 9506"/>
              <a:gd name="T5" fmla="*/ 9506 h 9506"/>
              <a:gd name="T6" fmla="*/ 9506 w 9506"/>
              <a:gd name="T7" fmla="*/ 4753 h 9506"/>
              <a:gd name="T8" fmla="*/ 4753 w 9506"/>
              <a:gd name="T9" fmla="*/ 0 h 9506"/>
              <a:gd name="T10" fmla="*/ 4019 w 9506"/>
              <a:gd name="T11" fmla="*/ 6437 h 9506"/>
              <a:gd name="T12" fmla="*/ 3818 w 9506"/>
              <a:gd name="T13" fmla="*/ 6538 h 9506"/>
              <a:gd name="T14" fmla="*/ 3615 w 9506"/>
              <a:gd name="T15" fmla="*/ 6435 h 9506"/>
              <a:gd name="T16" fmla="*/ 2335 w 9506"/>
              <a:gd name="T17" fmla="*/ 5155 h 9506"/>
              <a:gd name="T18" fmla="*/ 2742 w 9506"/>
              <a:gd name="T19" fmla="*/ 4748 h 9506"/>
              <a:gd name="T20" fmla="*/ 3821 w 9506"/>
              <a:gd name="T21" fmla="*/ 5827 h 9506"/>
              <a:gd name="T22" fmla="*/ 6673 w 9506"/>
              <a:gd name="T23" fmla="*/ 2955 h 9506"/>
              <a:gd name="T24" fmla="*/ 7072 w 9506"/>
              <a:gd name="T25" fmla="*/ 3368 h 9506"/>
              <a:gd name="T26" fmla="*/ 4019 w 9506"/>
              <a:gd name="T27" fmla="*/ 6437 h 9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506" h="9506">
                <a:moveTo>
                  <a:pt x="4753" y="0"/>
                </a:moveTo>
                <a:cubicBezTo>
                  <a:pt x="2127" y="0"/>
                  <a:pt x="0" y="2127"/>
                  <a:pt x="0" y="4753"/>
                </a:cubicBezTo>
                <a:cubicBezTo>
                  <a:pt x="0" y="7379"/>
                  <a:pt x="2127" y="9506"/>
                  <a:pt x="4753" y="9506"/>
                </a:cubicBezTo>
                <a:cubicBezTo>
                  <a:pt x="7379" y="9506"/>
                  <a:pt x="9506" y="7379"/>
                  <a:pt x="9506" y="4753"/>
                </a:cubicBezTo>
                <a:cubicBezTo>
                  <a:pt x="9506" y="2127"/>
                  <a:pt x="7379" y="0"/>
                  <a:pt x="4753" y="0"/>
                </a:cubicBezTo>
                <a:close/>
                <a:moveTo>
                  <a:pt x="4019" y="6437"/>
                </a:moveTo>
                <a:cubicBezTo>
                  <a:pt x="3965" y="6492"/>
                  <a:pt x="3887" y="6538"/>
                  <a:pt x="3818" y="6538"/>
                </a:cubicBezTo>
                <a:cubicBezTo>
                  <a:pt x="3750" y="6538"/>
                  <a:pt x="3672" y="6490"/>
                  <a:pt x="3615" y="6435"/>
                </a:cubicBezTo>
                <a:lnTo>
                  <a:pt x="2335" y="5155"/>
                </a:lnTo>
                <a:lnTo>
                  <a:pt x="2742" y="4748"/>
                </a:lnTo>
                <a:lnTo>
                  <a:pt x="3821" y="5827"/>
                </a:lnTo>
                <a:lnTo>
                  <a:pt x="6673" y="2955"/>
                </a:lnTo>
                <a:lnTo>
                  <a:pt x="7072" y="3368"/>
                </a:lnTo>
                <a:lnTo>
                  <a:pt x="4019" y="6437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28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16FB4B5-8295-42E2-B5BB-0B536957BAC7}"/>
              </a:ext>
            </a:extLst>
          </p:cNvPr>
          <p:cNvSpPr txBox="1"/>
          <p:nvPr/>
        </p:nvSpPr>
        <p:spPr>
          <a:xfrm>
            <a:off x="7063683" y="5244074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</p:spTree>
    <p:extLst>
      <p:ext uri="{BB962C8B-B14F-4D97-AF65-F5344CB8AC3E}">
        <p14:creationId xmlns:p14="http://schemas.microsoft.com/office/powerpoint/2010/main" val="291841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2" grpId="0"/>
      <p:bldP spid="273" grpId="0" animBg="1"/>
      <p:bldP spid="279" grpId="0" animBg="1"/>
      <p:bldP spid="281" grpId="0" animBg="1"/>
      <p:bldP spid="283" grpId="0" animBg="1"/>
      <p:bldP spid="285" grpId="0" animBg="1"/>
      <p:bldP spid="28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9943E5-C2EF-4133-ADC8-92BBFCBEF39F}"/>
              </a:ext>
            </a:extLst>
          </p:cNvPr>
          <p:cNvGrpSpPr/>
          <p:nvPr/>
        </p:nvGrpSpPr>
        <p:grpSpPr>
          <a:xfrm>
            <a:off x="6264922" y="1132238"/>
            <a:ext cx="4576180" cy="4593524"/>
            <a:chOff x="6540501" y="0"/>
            <a:chExt cx="4896342" cy="49149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94E6301-EB23-4685-88EB-C44A54F0F7DD}"/>
                </a:ext>
              </a:extLst>
            </p:cNvPr>
            <p:cNvSpPr/>
            <p:nvPr/>
          </p:nvSpPr>
          <p:spPr>
            <a:xfrm>
              <a:off x="6540501" y="174627"/>
              <a:ext cx="4178300" cy="4740274"/>
            </a:xfrm>
            <a:prstGeom prst="roundRect">
              <a:avLst>
                <a:gd name="adj" fmla="val 676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11" name="Picture 10" descr="A close up of a tower&#10;&#10;Description automatically generated">
              <a:extLst>
                <a:ext uri="{FF2B5EF4-FFF2-40B4-BE49-F238E27FC236}">
                  <a16:creationId xmlns:a16="http://schemas.microsoft.com/office/drawing/2014/main" id="{377C7E56-A503-4A1C-A558-116396C5E3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99651" y="0"/>
              <a:ext cx="4537192" cy="4622800"/>
            </a:xfrm>
            <a:prstGeom prst="rect">
              <a:avLst/>
            </a:prstGeom>
          </p:spPr>
        </p:pic>
      </p:grp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1440862" y="1530429"/>
            <a:ext cx="703199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0215" y="6369819"/>
            <a:ext cx="364202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31409A3-BCA5-4112-983E-0B015B4FEC9B}"/>
              </a:ext>
            </a:extLst>
          </p:cNvPr>
          <p:cNvSpPr txBox="1"/>
          <p:nvPr/>
        </p:nvSpPr>
        <p:spPr>
          <a:xfrm>
            <a:off x="1316175" y="2535320"/>
            <a:ext cx="44672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u="sng" dirty="0">
                <a:solidFill>
                  <a:srgbClr val="A43975"/>
                </a:solidFill>
                <a:cs typeface="+mn-ea"/>
                <a:sym typeface="+mn-lt"/>
              </a:rPr>
              <a:t>Part five</a:t>
            </a:r>
          </a:p>
        </p:txBody>
      </p:sp>
      <p:sp>
        <p:nvSpPr>
          <p:cNvPr id="16" name="Rectangle: Rounded Corners 10">
            <a:extLst>
              <a:ext uri="{FF2B5EF4-FFF2-40B4-BE49-F238E27FC236}">
                <a16:creationId xmlns:a16="http://schemas.microsoft.com/office/drawing/2014/main" id="{98FA1314-0C5F-4BDA-814F-E48678576C79}"/>
              </a:ext>
            </a:extLst>
          </p:cNvPr>
          <p:cNvSpPr/>
          <p:nvPr/>
        </p:nvSpPr>
        <p:spPr>
          <a:xfrm>
            <a:off x="1440861" y="459434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A2F7233-5CF3-4BAA-9DB3-924685106EE7}"/>
              </a:ext>
            </a:extLst>
          </p:cNvPr>
          <p:cNvSpPr txBox="1">
            <a:spLocks/>
          </p:cNvSpPr>
          <p:nvPr/>
        </p:nvSpPr>
        <p:spPr>
          <a:xfrm>
            <a:off x="1725794" y="479116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J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PPT.COM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328037-B8CC-4CFE-9C61-0B136E1EDB1B}"/>
              </a:ext>
            </a:extLst>
          </p:cNvPr>
          <p:cNvSpPr txBox="1"/>
          <p:nvPr/>
        </p:nvSpPr>
        <p:spPr>
          <a:xfrm>
            <a:off x="1440861" y="3649391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19" name="Google Shape;13;p2">
            <a:extLst>
              <a:ext uri="{FF2B5EF4-FFF2-40B4-BE49-F238E27FC236}">
                <a16:creationId xmlns:a16="http://schemas.microsoft.com/office/drawing/2014/main" id="{509DD1A6-1FA7-493E-B44D-F8868C2102FE}"/>
              </a:ext>
            </a:extLst>
          </p:cNvPr>
          <p:cNvSpPr/>
          <p:nvPr/>
        </p:nvSpPr>
        <p:spPr>
          <a:xfrm rot="12770">
            <a:off x="628033" y="2574350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" name="Google Shape;14;p2">
            <a:extLst>
              <a:ext uri="{FF2B5EF4-FFF2-40B4-BE49-F238E27FC236}">
                <a16:creationId xmlns:a16="http://schemas.microsoft.com/office/drawing/2014/main" id="{9FDDE0E7-DC25-48CF-AAB3-D30CE6AB5B87}"/>
              </a:ext>
            </a:extLst>
          </p:cNvPr>
          <p:cNvSpPr/>
          <p:nvPr/>
        </p:nvSpPr>
        <p:spPr>
          <a:xfrm rot="12770">
            <a:off x="1050772" y="2255542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4390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/>
      <p:bldP spid="18" grpId="0" animBg="1"/>
      <p:bldP spid="19" grpId="0" animBg="1"/>
      <p:bldP spid="2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34"/>
          <p:cNvSpPr/>
          <p:nvPr/>
        </p:nvSpPr>
        <p:spPr>
          <a:xfrm>
            <a:off x="8188701" y="2877595"/>
            <a:ext cx="310009" cy="511586"/>
          </a:xfrm>
          <a:custGeom>
            <a:avLst/>
            <a:gdLst/>
            <a:ahLst/>
            <a:cxnLst/>
            <a:rect l="l" t="t" r="r" b="b"/>
            <a:pathLst>
              <a:path w="7159" h="11814" extrusionOk="0">
                <a:moveTo>
                  <a:pt x="1268" y="1"/>
                </a:moveTo>
                <a:lnTo>
                  <a:pt x="1" y="1268"/>
                </a:lnTo>
                <a:lnTo>
                  <a:pt x="4656" y="5923"/>
                </a:lnTo>
                <a:lnTo>
                  <a:pt x="1" y="10547"/>
                </a:lnTo>
                <a:lnTo>
                  <a:pt x="1268" y="11813"/>
                </a:lnTo>
                <a:lnTo>
                  <a:pt x="7158" y="5923"/>
                </a:lnTo>
                <a:lnTo>
                  <a:pt x="1268" y="1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0" name="Google Shape;1270;p34"/>
          <p:cNvSpPr/>
          <p:nvPr/>
        </p:nvSpPr>
        <p:spPr>
          <a:xfrm>
            <a:off x="6595180" y="3095670"/>
            <a:ext cx="1715635" cy="76820"/>
          </a:xfrm>
          <a:custGeom>
            <a:avLst/>
            <a:gdLst/>
            <a:ahLst/>
            <a:cxnLst/>
            <a:rect l="l" t="t" r="r" b="b"/>
            <a:pathLst>
              <a:path w="39619" h="1774" extrusionOk="0">
                <a:moveTo>
                  <a:pt x="0" y="0"/>
                </a:moveTo>
                <a:lnTo>
                  <a:pt x="0" y="1774"/>
                </a:lnTo>
                <a:lnTo>
                  <a:pt x="38732" y="1774"/>
                </a:lnTo>
                <a:lnTo>
                  <a:pt x="39618" y="887"/>
                </a:lnTo>
                <a:lnTo>
                  <a:pt x="38732" y="0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1" name="Google Shape;1271;p34"/>
          <p:cNvSpPr/>
          <p:nvPr/>
        </p:nvSpPr>
        <p:spPr>
          <a:xfrm>
            <a:off x="8188701" y="1691387"/>
            <a:ext cx="310009" cy="511542"/>
          </a:xfrm>
          <a:custGeom>
            <a:avLst/>
            <a:gdLst/>
            <a:ahLst/>
            <a:cxnLst/>
            <a:rect l="l" t="t" r="r" b="b"/>
            <a:pathLst>
              <a:path w="7159" h="11813" extrusionOk="0">
                <a:moveTo>
                  <a:pt x="1268" y="0"/>
                </a:moveTo>
                <a:lnTo>
                  <a:pt x="1" y="1267"/>
                </a:lnTo>
                <a:lnTo>
                  <a:pt x="4656" y="5891"/>
                </a:lnTo>
                <a:lnTo>
                  <a:pt x="1" y="10546"/>
                </a:lnTo>
                <a:lnTo>
                  <a:pt x="1268" y="11813"/>
                </a:lnTo>
                <a:lnTo>
                  <a:pt x="7158" y="5891"/>
                </a:lnTo>
                <a:lnTo>
                  <a:pt x="1268" y="0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2" name="Google Shape;1272;p34"/>
          <p:cNvSpPr/>
          <p:nvPr/>
        </p:nvSpPr>
        <p:spPr>
          <a:xfrm>
            <a:off x="5570753" y="1908076"/>
            <a:ext cx="2740063" cy="76820"/>
          </a:xfrm>
          <a:custGeom>
            <a:avLst/>
            <a:gdLst/>
            <a:ahLst/>
            <a:cxnLst/>
            <a:rect l="l" t="t" r="r" b="b"/>
            <a:pathLst>
              <a:path w="63276" h="1774" extrusionOk="0">
                <a:moveTo>
                  <a:pt x="1" y="0"/>
                </a:moveTo>
                <a:lnTo>
                  <a:pt x="1" y="1774"/>
                </a:lnTo>
                <a:lnTo>
                  <a:pt x="62389" y="1774"/>
                </a:lnTo>
                <a:lnTo>
                  <a:pt x="63275" y="887"/>
                </a:lnTo>
                <a:lnTo>
                  <a:pt x="62389" y="0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3" name="Google Shape;1273;p34"/>
          <p:cNvSpPr/>
          <p:nvPr/>
        </p:nvSpPr>
        <p:spPr>
          <a:xfrm>
            <a:off x="3705679" y="4063847"/>
            <a:ext cx="309965" cy="511586"/>
          </a:xfrm>
          <a:custGeom>
            <a:avLst/>
            <a:gdLst/>
            <a:ahLst/>
            <a:cxnLst/>
            <a:rect l="l" t="t" r="r" b="b"/>
            <a:pathLst>
              <a:path w="7158" h="11814" extrusionOk="0">
                <a:moveTo>
                  <a:pt x="5891" y="1"/>
                </a:moveTo>
                <a:lnTo>
                  <a:pt x="1" y="5923"/>
                </a:lnTo>
                <a:lnTo>
                  <a:pt x="5891" y="11813"/>
                </a:lnTo>
                <a:lnTo>
                  <a:pt x="7158" y="10546"/>
                </a:lnTo>
                <a:lnTo>
                  <a:pt x="2502" y="5923"/>
                </a:lnTo>
                <a:lnTo>
                  <a:pt x="7158" y="1267"/>
                </a:lnTo>
                <a:lnTo>
                  <a:pt x="5891" y="1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4" name="Google Shape;1274;p34"/>
          <p:cNvSpPr/>
          <p:nvPr/>
        </p:nvSpPr>
        <p:spPr>
          <a:xfrm>
            <a:off x="3893572" y="4281881"/>
            <a:ext cx="1715635" cy="76863"/>
          </a:xfrm>
          <a:custGeom>
            <a:avLst/>
            <a:gdLst/>
            <a:ahLst/>
            <a:cxnLst/>
            <a:rect l="l" t="t" r="r" b="b"/>
            <a:pathLst>
              <a:path w="39619" h="1775" extrusionOk="0">
                <a:moveTo>
                  <a:pt x="887" y="1"/>
                </a:moveTo>
                <a:lnTo>
                  <a:pt x="0" y="888"/>
                </a:lnTo>
                <a:lnTo>
                  <a:pt x="887" y="1774"/>
                </a:lnTo>
                <a:lnTo>
                  <a:pt x="39618" y="1774"/>
                </a:lnTo>
                <a:lnTo>
                  <a:pt x="39618" y="1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5" name="Google Shape;1275;p34"/>
          <p:cNvSpPr/>
          <p:nvPr/>
        </p:nvSpPr>
        <p:spPr>
          <a:xfrm>
            <a:off x="3705679" y="5251441"/>
            <a:ext cx="309965" cy="510200"/>
          </a:xfrm>
          <a:custGeom>
            <a:avLst/>
            <a:gdLst/>
            <a:ahLst/>
            <a:cxnLst/>
            <a:rect l="l" t="t" r="r" b="b"/>
            <a:pathLst>
              <a:path w="7158" h="11782" extrusionOk="0">
                <a:moveTo>
                  <a:pt x="5891" y="1"/>
                </a:moveTo>
                <a:lnTo>
                  <a:pt x="1" y="5891"/>
                </a:lnTo>
                <a:lnTo>
                  <a:pt x="5891" y="11782"/>
                </a:lnTo>
                <a:lnTo>
                  <a:pt x="7158" y="10515"/>
                </a:lnTo>
                <a:lnTo>
                  <a:pt x="2502" y="5891"/>
                </a:lnTo>
                <a:lnTo>
                  <a:pt x="7158" y="1236"/>
                </a:lnTo>
                <a:lnTo>
                  <a:pt x="5891" y="1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6" name="Google Shape;1276;p34"/>
          <p:cNvSpPr/>
          <p:nvPr/>
        </p:nvSpPr>
        <p:spPr>
          <a:xfrm>
            <a:off x="3893571" y="5468130"/>
            <a:ext cx="2740063" cy="76820"/>
          </a:xfrm>
          <a:custGeom>
            <a:avLst/>
            <a:gdLst/>
            <a:ahLst/>
            <a:cxnLst/>
            <a:rect l="l" t="t" r="r" b="b"/>
            <a:pathLst>
              <a:path w="63276" h="1774" extrusionOk="0">
                <a:moveTo>
                  <a:pt x="887" y="0"/>
                </a:moveTo>
                <a:lnTo>
                  <a:pt x="0" y="887"/>
                </a:lnTo>
                <a:lnTo>
                  <a:pt x="887" y="1774"/>
                </a:lnTo>
                <a:lnTo>
                  <a:pt x="63275" y="1774"/>
                </a:lnTo>
                <a:lnTo>
                  <a:pt x="63275" y="0"/>
                </a:lnTo>
                <a:close/>
              </a:path>
            </a:pathLst>
          </a:custGeom>
          <a:solidFill>
            <a:srgbClr val="E3E3E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7" name="Google Shape;1277;p34"/>
          <p:cNvSpPr/>
          <p:nvPr/>
        </p:nvSpPr>
        <p:spPr>
          <a:xfrm>
            <a:off x="4368046" y="1448628"/>
            <a:ext cx="1599063" cy="2183268"/>
          </a:xfrm>
          <a:custGeom>
            <a:avLst/>
            <a:gdLst/>
            <a:ahLst/>
            <a:cxnLst/>
            <a:rect l="l" t="t" r="r" b="b"/>
            <a:pathLst>
              <a:path w="36927" h="50418" extrusionOk="0">
                <a:moveTo>
                  <a:pt x="27395" y="1"/>
                </a:moveTo>
                <a:lnTo>
                  <a:pt x="1" y="27395"/>
                </a:lnTo>
                <a:lnTo>
                  <a:pt x="9533" y="50418"/>
                </a:lnTo>
                <a:lnTo>
                  <a:pt x="36927" y="23024"/>
                </a:lnTo>
                <a:lnTo>
                  <a:pt x="27395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8" name="Google Shape;1278;p34"/>
          <p:cNvSpPr/>
          <p:nvPr/>
        </p:nvSpPr>
        <p:spPr>
          <a:xfrm>
            <a:off x="5296470" y="2634880"/>
            <a:ext cx="1599063" cy="2183268"/>
          </a:xfrm>
          <a:custGeom>
            <a:avLst/>
            <a:gdLst/>
            <a:ahLst/>
            <a:cxnLst/>
            <a:rect l="l" t="t" r="r" b="b"/>
            <a:pathLst>
              <a:path w="36927" h="50418" extrusionOk="0">
                <a:moveTo>
                  <a:pt x="27394" y="1"/>
                </a:moveTo>
                <a:lnTo>
                  <a:pt x="1" y="27394"/>
                </a:lnTo>
                <a:lnTo>
                  <a:pt x="9533" y="50417"/>
                </a:lnTo>
                <a:lnTo>
                  <a:pt x="36927" y="23024"/>
                </a:lnTo>
                <a:lnTo>
                  <a:pt x="27394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79" name="Google Shape;1279;p34"/>
          <p:cNvSpPr/>
          <p:nvPr/>
        </p:nvSpPr>
        <p:spPr>
          <a:xfrm>
            <a:off x="6224893" y="3821131"/>
            <a:ext cx="1599063" cy="2183268"/>
          </a:xfrm>
          <a:custGeom>
            <a:avLst/>
            <a:gdLst/>
            <a:ahLst/>
            <a:cxnLst/>
            <a:rect l="l" t="t" r="r" b="b"/>
            <a:pathLst>
              <a:path w="36927" h="50418" extrusionOk="0">
                <a:moveTo>
                  <a:pt x="27394" y="0"/>
                </a:moveTo>
                <a:lnTo>
                  <a:pt x="1" y="27394"/>
                </a:lnTo>
                <a:lnTo>
                  <a:pt x="9533" y="50417"/>
                </a:lnTo>
                <a:lnTo>
                  <a:pt x="36927" y="23023"/>
                </a:lnTo>
                <a:lnTo>
                  <a:pt x="2739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80" name="Google Shape;1280;p34"/>
          <p:cNvSpPr/>
          <p:nvPr/>
        </p:nvSpPr>
        <p:spPr>
          <a:xfrm>
            <a:off x="3439622" y="1448630"/>
            <a:ext cx="2527487" cy="997059"/>
          </a:xfrm>
          <a:custGeom>
            <a:avLst/>
            <a:gdLst/>
            <a:ahLst/>
            <a:cxnLst/>
            <a:rect l="l" t="t" r="r" b="b"/>
            <a:pathLst>
              <a:path w="58367" h="23025" extrusionOk="0">
                <a:moveTo>
                  <a:pt x="1" y="1"/>
                </a:moveTo>
                <a:lnTo>
                  <a:pt x="9533" y="23024"/>
                </a:lnTo>
                <a:lnTo>
                  <a:pt x="58367" y="23024"/>
                </a:lnTo>
                <a:lnTo>
                  <a:pt x="48835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281" name="Google Shape;1281;p34"/>
          <p:cNvSpPr/>
          <p:nvPr/>
        </p:nvSpPr>
        <p:spPr>
          <a:xfrm>
            <a:off x="4368046" y="2634880"/>
            <a:ext cx="2527487" cy="997016"/>
          </a:xfrm>
          <a:custGeom>
            <a:avLst/>
            <a:gdLst/>
            <a:ahLst/>
            <a:cxnLst/>
            <a:rect l="l" t="t" r="r" b="b"/>
            <a:pathLst>
              <a:path w="58367" h="23024" extrusionOk="0">
                <a:moveTo>
                  <a:pt x="1" y="1"/>
                </a:moveTo>
                <a:lnTo>
                  <a:pt x="9533" y="23024"/>
                </a:lnTo>
                <a:lnTo>
                  <a:pt x="58367" y="23024"/>
                </a:lnTo>
                <a:lnTo>
                  <a:pt x="48834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282" name="Google Shape;1282;p34"/>
          <p:cNvSpPr/>
          <p:nvPr/>
        </p:nvSpPr>
        <p:spPr>
          <a:xfrm>
            <a:off x="5296470" y="3821131"/>
            <a:ext cx="2527487" cy="997016"/>
          </a:xfrm>
          <a:custGeom>
            <a:avLst/>
            <a:gdLst/>
            <a:ahLst/>
            <a:cxnLst/>
            <a:rect l="l" t="t" r="r" b="b"/>
            <a:pathLst>
              <a:path w="58367" h="23024" extrusionOk="0">
                <a:moveTo>
                  <a:pt x="1" y="0"/>
                </a:moveTo>
                <a:lnTo>
                  <a:pt x="9533" y="23023"/>
                </a:lnTo>
                <a:lnTo>
                  <a:pt x="58367" y="23023"/>
                </a:lnTo>
                <a:lnTo>
                  <a:pt x="48834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283" name="Google Shape;1283;p34"/>
          <p:cNvSpPr/>
          <p:nvPr/>
        </p:nvSpPr>
        <p:spPr>
          <a:xfrm>
            <a:off x="6224893" y="5007342"/>
            <a:ext cx="2527487" cy="997059"/>
          </a:xfrm>
          <a:custGeom>
            <a:avLst/>
            <a:gdLst/>
            <a:ahLst/>
            <a:cxnLst/>
            <a:rect l="l" t="t" r="r" b="b"/>
            <a:pathLst>
              <a:path w="58367" h="23025" extrusionOk="0">
                <a:moveTo>
                  <a:pt x="1" y="1"/>
                </a:moveTo>
                <a:lnTo>
                  <a:pt x="9533" y="23024"/>
                </a:lnTo>
                <a:lnTo>
                  <a:pt x="58367" y="23024"/>
                </a:lnTo>
                <a:lnTo>
                  <a:pt x="48834" y="1"/>
                </a:lnTo>
                <a:close/>
              </a:path>
            </a:pathLst>
          </a:custGeom>
          <a:solidFill>
            <a:srgbClr val="721B6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84" name="Google Shape;1284;p34"/>
          <p:cNvSpPr/>
          <p:nvPr/>
        </p:nvSpPr>
        <p:spPr>
          <a:xfrm>
            <a:off x="4354363" y="1665664"/>
            <a:ext cx="699435" cy="562640"/>
          </a:xfrm>
          <a:custGeom>
            <a:avLst/>
            <a:gdLst/>
            <a:ahLst/>
            <a:cxnLst/>
            <a:rect l="l" t="t" r="r" b="b"/>
            <a:pathLst>
              <a:path w="16152" h="12993" extrusionOk="0">
                <a:moveTo>
                  <a:pt x="4089" y="1"/>
                </a:moveTo>
                <a:cubicBezTo>
                  <a:pt x="3990" y="1"/>
                  <a:pt x="3895" y="40"/>
                  <a:pt x="3832" y="119"/>
                </a:cubicBezTo>
                <a:cubicBezTo>
                  <a:pt x="3674" y="278"/>
                  <a:pt x="3674" y="531"/>
                  <a:pt x="3832" y="658"/>
                </a:cubicBezTo>
                <a:lnTo>
                  <a:pt x="4814" y="1671"/>
                </a:lnTo>
                <a:lnTo>
                  <a:pt x="4497" y="1988"/>
                </a:lnTo>
                <a:lnTo>
                  <a:pt x="1679" y="4806"/>
                </a:lnTo>
                <a:lnTo>
                  <a:pt x="665" y="3825"/>
                </a:lnTo>
                <a:cubicBezTo>
                  <a:pt x="602" y="3745"/>
                  <a:pt x="507" y="3706"/>
                  <a:pt x="408" y="3706"/>
                </a:cubicBezTo>
                <a:cubicBezTo>
                  <a:pt x="309" y="3706"/>
                  <a:pt x="206" y="3745"/>
                  <a:pt x="127" y="3825"/>
                </a:cubicBezTo>
                <a:cubicBezTo>
                  <a:pt x="0" y="3951"/>
                  <a:pt x="0" y="4205"/>
                  <a:pt x="127" y="4363"/>
                </a:cubicBezTo>
                <a:lnTo>
                  <a:pt x="1394" y="5630"/>
                </a:lnTo>
                <a:cubicBezTo>
                  <a:pt x="1489" y="5693"/>
                  <a:pt x="1584" y="5725"/>
                  <a:pt x="1679" y="5725"/>
                </a:cubicBezTo>
                <a:cubicBezTo>
                  <a:pt x="1774" y="5725"/>
                  <a:pt x="1869" y="5693"/>
                  <a:pt x="1932" y="5630"/>
                </a:cubicBezTo>
                <a:lnTo>
                  <a:pt x="2249" y="5313"/>
                </a:lnTo>
                <a:lnTo>
                  <a:pt x="2819" y="5883"/>
                </a:lnTo>
                <a:cubicBezTo>
                  <a:pt x="2439" y="6485"/>
                  <a:pt x="2534" y="7308"/>
                  <a:pt x="3072" y="7847"/>
                </a:cubicBezTo>
                <a:lnTo>
                  <a:pt x="3737" y="8512"/>
                </a:lnTo>
                <a:lnTo>
                  <a:pt x="3294" y="8987"/>
                </a:lnTo>
                <a:cubicBezTo>
                  <a:pt x="3072" y="9208"/>
                  <a:pt x="2945" y="9493"/>
                  <a:pt x="2945" y="9778"/>
                </a:cubicBezTo>
                <a:cubicBezTo>
                  <a:pt x="2945" y="10095"/>
                  <a:pt x="3072" y="10380"/>
                  <a:pt x="3294" y="10570"/>
                </a:cubicBezTo>
                <a:cubicBezTo>
                  <a:pt x="3484" y="10792"/>
                  <a:pt x="3769" y="10918"/>
                  <a:pt x="4085" y="10918"/>
                </a:cubicBezTo>
                <a:cubicBezTo>
                  <a:pt x="4212" y="10918"/>
                  <a:pt x="4339" y="10887"/>
                  <a:pt x="4434" y="10855"/>
                </a:cubicBezTo>
                <a:cubicBezTo>
                  <a:pt x="4497" y="11013"/>
                  <a:pt x="4592" y="11140"/>
                  <a:pt x="4719" y="11267"/>
                </a:cubicBezTo>
                <a:cubicBezTo>
                  <a:pt x="4945" y="11493"/>
                  <a:pt x="5236" y="11606"/>
                  <a:pt x="5522" y="11606"/>
                </a:cubicBezTo>
                <a:cubicBezTo>
                  <a:pt x="5637" y="11606"/>
                  <a:pt x="5750" y="11588"/>
                  <a:pt x="5859" y="11552"/>
                </a:cubicBezTo>
                <a:cubicBezTo>
                  <a:pt x="5922" y="11710"/>
                  <a:pt x="6017" y="11837"/>
                  <a:pt x="6144" y="11963"/>
                </a:cubicBezTo>
                <a:cubicBezTo>
                  <a:pt x="6366" y="12185"/>
                  <a:pt x="6651" y="12312"/>
                  <a:pt x="6936" y="12312"/>
                </a:cubicBezTo>
                <a:cubicBezTo>
                  <a:pt x="7062" y="12312"/>
                  <a:pt x="7189" y="12280"/>
                  <a:pt x="7316" y="12249"/>
                </a:cubicBezTo>
                <a:cubicBezTo>
                  <a:pt x="7347" y="12407"/>
                  <a:pt x="7442" y="12534"/>
                  <a:pt x="7569" y="12660"/>
                </a:cubicBezTo>
                <a:cubicBezTo>
                  <a:pt x="7791" y="12882"/>
                  <a:pt x="8084" y="12993"/>
                  <a:pt x="8377" y="12993"/>
                </a:cubicBezTo>
                <a:cubicBezTo>
                  <a:pt x="8670" y="12993"/>
                  <a:pt x="8962" y="12882"/>
                  <a:pt x="9184" y="12660"/>
                </a:cubicBezTo>
                <a:lnTo>
                  <a:pt x="13079" y="8765"/>
                </a:lnTo>
                <a:cubicBezTo>
                  <a:pt x="13618" y="8227"/>
                  <a:pt x="13681" y="7403"/>
                  <a:pt x="13301" y="6801"/>
                </a:cubicBezTo>
                <a:lnTo>
                  <a:pt x="13871" y="6231"/>
                </a:lnTo>
                <a:lnTo>
                  <a:pt x="14188" y="6548"/>
                </a:lnTo>
                <a:cubicBezTo>
                  <a:pt x="14251" y="6611"/>
                  <a:pt x="14346" y="6643"/>
                  <a:pt x="14473" y="6643"/>
                </a:cubicBezTo>
                <a:cubicBezTo>
                  <a:pt x="14568" y="6643"/>
                  <a:pt x="14663" y="6611"/>
                  <a:pt x="14726" y="6548"/>
                </a:cubicBezTo>
                <a:lnTo>
                  <a:pt x="15993" y="5281"/>
                </a:lnTo>
                <a:cubicBezTo>
                  <a:pt x="16151" y="5123"/>
                  <a:pt x="16151" y="4870"/>
                  <a:pt x="15993" y="4743"/>
                </a:cubicBezTo>
                <a:cubicBezTo>
                  <a:pt x="15914" y="4664"/>
                  <a:pt x="15819" y="4624"/>
                  <a:pt x="15724" y="4624"/>
                </a:cubicBezTo>
                <a:cubicBezTo>
                  <a:pt x="15629" y="4624"/>
                  <a:pt x="15534" y="4664"/>
                  <a:pt x="15455" y="4743"/>
                </a:cubicBezTo>
                <a:lnTo>
                  <a:pt x="14473" y="5725"/>
                </a:lnTo>
                <a:lnTo>
                  <a:pt x="14156" y="5408"/>
                </a:lnTo>
                <a:lnTo>
                  <a:pt x="11306" y="2558"/>
                </a:lnTo>
                <a:lnTo>
                  <a:pt x="10989" y="2273"/>
                </a:lnTo>
                <a:lnTo>
                  <a:pt x="11971" y="1259"/>
                </a:lnTo>
                <a:cubicBezTo>
                  <a:pt x="12129" y="1101"/>
                  <a:pt x="12129" y="879"/>
                  <a:pt x="11971" y="721"/>
                </a:cubicBezTo>
                <a:cubicBezTo>
                  <a:pt x="11892" y="642"/>
                  <a:pt x="11797" y="602"/>
                  <a:pt x="11702" y="602"/>
                </a:cubicBezTo>
                <a:cubicBezTo>
                  <a:pt x="11607" y="602"/>
                  <a:pt x="11512" y="642"/>
                  <a:pt x="11433" y="721"/>
                </a:cubicBezTo>
                <a:lnTo>
                  <a:pt x="10166" y="1988"/>
                </a:lnTo>
                <a:cubicBezTo>
                  <a:pt x="10103" y="2051"/>
                  <a:pt x="10071" y="2146"/>
                  <a:pt x="10071" y="2273"/>
                </a:cubicBezTo>
                <a:cubicBezTo>
                  <a:pt x="10071" y="2368"/>
                  <a:pt x="10103" y="2463"/>
                  <a:pt x="10166" y="2526"/>
                </a:cubicBezTo>
                <a:lnTo>
                  <a:pt x="10483" y="2843"/>
                </a:lnTo>
                <a:lnTo>
                  <a:pt x="9849" y="3476"/>
                </a:lnTo>
                <a:lnTo>
                  <a:pt x="9406" y="3033"/>
                </a:lnTo>
                <a:cubicBezTo>
                  <a:pt x="9342" y="2954"/>
                  <a:pt x="9247" y="2914"/>
                  <a:pt x="9148" y="2914"/>
                </a:cubicBezTo>
                <a:cubicBezTo>
                  <a:pt x="9050" y="2914"/>
                  <a:pt x="8947" y="2954"/>
                  <a:pt x="8867" y="3033"/>
                </a:cubicBezTo>
                <a:cubicBezTo>
                  <a:pt x="8741" y="3160"/>
                  <a:pt x="8741" y="3413"/>
                  <a:pt x="8867" y="3571"/>
                </a:cubicBezTo>
                <a:lnTo>
                  <a:pt x="9596" y="4268"/>
                </a:lnTo>
                <a:cubicBezTo>
                  <a:pt x="9675" y="4347"/>
                  <a:pt x="9770" y="4387"/>
                  <a:pt x="9865" y="4387"/>
                </a:cubicBezTo>
                <a:cubicBezTo>
                  <a:pt x="9960" y="4387"/>
                  <a:pt x="10055" y="4347"/>
                  <a:pt x="10134" y="4268"/>
                </a:cubicBezTo>
                <a:lnTo>
                  <a:pt x="11021" y="3381"/>
                </a:lnTo>
                <a:lnTo>
                  <a:pt x="13333" y="5693"/>
                </a:lnTo>
                <a:lnTo>
                  <a:pt x="12541" y="6485"/>
                </a:lnTo>
                <a:cubicBezTo>
                  <a:pt x="12383" y="6643"/>
                  <a:pt x="12383" y="6896"/>
                  <a:pt x="12541" y="7023"/>
                </a:cubicBezTo>
                <a:cubicBezTo>
                  <a:pt x="12858" y="7372"/>
                  <a:pt x="12858" y="7878"/>
                  <a:pt x="12541" y="8227"/>
                </a:cubicBezTo>
                <a:lnTo>
                  <a:pt x="8646" y="12122"/>
                </a:lnTo>
                <a:cubicBezTo>
                  <a:pt x="8567" y="12185"/>
                  <a:pt x="8472" y="12217"/>
                  <a:pt x="8377" y="12217"/>
                </a:cubicBezTo>
                <a:cubicBezTo>
                  <a:pt x="8282" y="12217"/>
                  <a:pt x="8187" y="12185"/>
                  <a:pt x="8107" y="12122"/>
                </a:cubicBezTo>
                <a:cubicBezTo>
                  <a:pt x="8044" y="12059"/>
                  <a:pt x="8012" y="11963"/>
                  <a:pt x="8012" y="11868"/>
                </a:cubicBezTo>
                <a:cubicBezTo>
                  <a:pt x="8012" y="11773"/>
                  <a:pt x="8044" y="11678"/>
                  <a:pt x="8107" y="11583"/>
                </a:cubicBezTo>
                <a:cubicBezTo>
                  <a:pt x="8266" y="11457"/>
                  <a:pt x="8266" y="11203"/>
                  <a:pt x="8107" y="11045"/>
                </a:cubicBezTo>
                <a:cubicBezTo>
                  <a:pt x="8028" y="10982"/>
                  <a:pt x="7933" y="10950"/>
                  <a:pt x="7838" y="10950"/>
                </a:cubicBezTo>
                <a:cubicBezTo>
                  <a:pt x="7743" y="10950"/>
                  <a:pt x="7648" y="10982"/>
                  <a:pt x="7569" y="11045"/>
                </a:cubicBezTo>
                <a:lnTo>
                  <a:pt x="7189" y="11425"/>
                </a:lnTo>
                <a:cubicBezTo>
                  <a:pt x="7126" y="11488"/>
                  <a:pt x="7031" y="11520"/>
                  <a:pt x="6936" y="11520"/>
                </a:cubicBezTo>
                <a:cubicBezTo>
                  <a:pt x="6841" y="11520"/>
                  <a:pt x="6746" y="11488"/>
                  <a:pt x="6682" y="11425"/>
                </a:cubicBezTo>
                <a:cubicBezTo>
                  <a:pt x="6619" y="11362"/>
                  <a:pt x="6556" y="11267"/>
                  <a:pt x="6556" y="11172"/>
                </a:cubicBezTo>
                <a:cubicBezTo>
                  <a:pt x="6556" y="11077"/>
                  <a:pt x="6619" y="10982"/>
                  <a:pt x="6682" y="10918"/>
                </a:cubicBezTo>
                <a:cubicBezTo>
                  <a:pt x="6682" y="10887"/>
                  <a:pt x="6682" y="10887"/>
                  <a:pt x="6714" y="10887"/>
                </a:cubicBezTo>
                <a:cubicBezTo>
                  <a:pt x="6714" y="10855"/>
                  <a:pt x="6714" y="10855"/>
                  <a:pt x="6714" y="10855"/>
                </a:cubicBezTo>
                <a:cubicBezTo>
                  <a:pt x="6714" y="10823"/>
                  <a:pt x="6746" y="10823"/>
                  <a:pt x="6746" y="10823"/>
                </a:cubicBezTo>
                <a:cubicBezTo>
                  <a:pt x="6746" y="10792"/>
                  <a:pt x="6746" y="10792"/>
                  <a:pt x="6746" y="10792"/>
                </a:cubicBezTo>
                <a:cubicBezTo>
                  <a:pt x="6777" y="10760"/>
                  <a:pt x="6777" y="10760"/>
                  <a:pt x="6777" y="10728"/>
                </a:cubicBezTo>
                <a:cubicBezTo>
                  <a:pt x="6777" y="10728"/>
                  <a:pt x="6777" y="10728"/>
                  <a:pt x="6777" y="10697"/>
                </a:cubicBezTo>
                <a:cubicBezTo>
                  <a:pt x="6777" y="10697"/>
                  <a:pt x="6777" y="10665"/>
                  <a:pt x="6777" y="10665"/>
                </a:cubicBezTo>
                <a:cubicBezTo>
                  <a:pt x="6777" y="10665"/>
                  <a:pt x="6777" y="10633"/>
                  <a:pt x="6777" y="10633"/>
                </a:cubicBezTo>
                <a:cubicBezTo>
                  <a:pt x="6777" y="10633"/>
                  <a:pt x="6777" y="10602"/>
                  <a:pt x="6777" y="10602"/>
                </a:cubicBezTo>
                <a:cubicBezTo>
                  <a:pt x="6777" y="10602"/>
                  <a:pt x="6777" y="10570"/>
                  <a:pt x="6777" y="10570"/>
                </a:cubicBezTo>
                <a:cubicBezTo>
                  <a:pt x="6777" y="10570"/>
                  <a:pt x="6777" y="10538"/>
                  <a:pt x="6777" y="10538"/>
                </a:cubicBezTo>
                <a:cubicBezTo>
                  <a:pt x="6777" y="10507"/>
                  <a:pt x="6777" y="10507"/>
                  <a:pt x="6746" y="10507"/>
                </a:cubicBezTo>
                <a:cubicBezTo>
                  <a:pt x="6746" y="10475"/>
                  <a:pt x="6746" y="10475"/>
                  <a:pt x="6746" y="10443"/>
                </a:cubicBezTo>
                <a:cubicBezTo>
                  <a:pt x="6746" y="10443"/>
                  <a:pt x="6746" y="10443"/>
                  <a:pt x="6714" y="10412"/>
                </a:cubicBezTo>
                <a:cubicBezTo>
                  <a:pt x="6714" y="10412"/>
                  <a:pt x="6714" y="10412"/>
                  <a:pt x="6714" y="10380"/>
                </a:cubicBezTo>
                <a:lnTo>
                  <a:pt x="6682" y="10380"/>
                </a:lnTo>
                <a:cubicBezTo>
                  <a:pt x="6682" y="10348"/>
                  <a:pt x="6651" y="10348"/>
                  <a:pt x="6651" y="10348"/>
                </a:cubicBezTo>
                <a:cubicBezTo>
                  <a:pt x="6651" y="10348"/>
                  <a:pt x="6619" y="10317"/>
                  <a:pt x="6619" y="10317"/>
                </a:cubicBezTo>
                <a:lnTo>
                  <a:pt x="6587" y="10317"/>
                </a:lnTo>
                <a:cubicBezTo>
                  <a:pt x="6587" y="10285"/>
                  <a:pt x="6556" y="10285"/>
                  <a:pt x="6556" y="10285"/>
                </a:cubicBezTo>
                <a:lnTo>
                  <a:pt x="6492" y="10285"/>
                </a:lnTo>
                <a:cubicBezTo>
                  <a:pt x="6492" y="10253"/>
                  <a:pt x="6492" y="10253"/>
                  <a:pt x="6492" y="10253"/>
                </a:cubicBezTo>
                <a:lnTo>
                  <a:pt x="6334" y="10253"/>
                </a:lnTo>
                <a:cubicBezTo>
                  <a:pt x="6334" y="10253"/>
                  <a:pt x="6334" y="10253"/>
                  <a:pt x="6302" y="10285"/>
                </a:cubicBezTo>
                <a:lnTo>
                  <a:pt x="6271" y="10285"/>
                </a:lnTo>
                <a:cubicBezTo>
                  <a:pt x="6239" y="10285"/>
                  <a:pt x="6239" y="10285"/>
                  <a:pt x="6239" y="10317"/>
                </a:cubicBezTo>
                <a:lnTo>
                  <a:pt x="6207" y="10317"/>
                </a:lnTo>
                <a:cubicBezTo>
                  <a:pt x="6176" y="10317"/>
                  <a:pt x="6176" y="10348"/>
                  <a:pt x="6176" y="10348"/>
                </a:cubicBezTo>
                <a:cubicBezTo>
                  <a:pt x="6144" y="10348"/>
                  <a:pt x="6144" y="10348"/>
                  <a:pt x="6144" y="10380"/>
                </a:cubicBezTo>
                <a:lnTo>
                  <a:pt x="5764" y="10728"/>
                </a:lnTo>
                <a:cubicBezTo>
                  <a:pt x="5701" y="10808"/>
                  <a:pt x="5606" y="10847"/>
                  <a:pt x="5511" y="10847"/>
                </a:cubicBezTo>
                <a:cubicBezTo>
                  <a:pt x="5416" y="10847"/>
                  <a:pt x="5320" y="10808"/>
                  <a:pt x="5257" y="10728"/>
                </a:cubicBezTo>
                <a:cubicBezTo>
                  <a:pt x="5099" y="10602"/>
                  <a:pt x="5099" y="10348"/>
                  <a:pt x="5257" y="10222"/>
                </a:cubicBezTo>
                <a:cubicBezTo>
                  <a:pt x="5384" y="10063"/>
                  <a:pt x="5384" y="9810"/>
                  <a:pt x="5257" y="9683"/>
                </a:cubicBezTo>
                <a:cubicBezTo>
                  <a:pt x="5178" y="9604"/>
                  <a:pt x="5075" y="9565"/>
                  <a:pt x="4976" y="9565"/>
                </a:cubicBezTo>
                <a:cubicBezTo>
                  <a:pt x="4877" y="9565"/>
                  <a:pt x="4782" y="9604"/>
                  <a:pt x="4719" y="9683"/>
                </a:cubicBezTo>
                <a:lnTo>
                  <a:pt x="4339" y="10032"/>
                </a:lnTo>
                <a:cubicBezTo>
                  <a:pt x="4260" y="10111"/>
                  <a:pt x="4165" y="10150"/>
                  <a:pt x="4074" y="10150"/>
                </a:cubicBezTo>
                <a:cubicBezTo>
                  <a:pt x="3982" y="10150"/>
                  <a:pt x="3895" y="10111"/>
                  <a:pt x="3832" y="10032"/>
                </a:cubicBezTo>
                <a:cubicBezTo>
                  <a:pt x="3674" y="9905"/>
                  <a:pt x="3674" y="9652"/>
                  <a:pt x="3832" y="9525"/>
                </a:cubicBezTo>
                <a:lnTo>
                  <a:pt x="6872" y="6485"/>
                </a:lnTo>
                <a:cubicBezTo>
                  <a:pt x="6999" y="6326"/>
                  <a:pt x="6999" y="6073"/>
                  <a:pt x="6872" y="5946"/>
                </a:cubicBezTo>
                <a:cubicBezTo>
                  <a:pt x="6793" y="5867"/>
                  <a:pt x="6690" y="5828"/>
                  <a:pt x="6591" y="5828"/>
                </a:cubicBezTo>
                <a:cubicBezTo>
                  <a:pt x="6492" y="5828"/>
                  <a:pt x="6397" y="5867"/>
                  <a:pt x="6334" y="5946"/>
                </a:cubicBezTo>
                <a:lnTo>
                  <a:pt x="4275" y="7973"/>
                </a:lnTo>
                <a:lnTo>
                  <a:pt x="3610" y="7308"/>
                </a:lnTo>
                <a:cubicBezTo>
                  <a:pt x="3262" y="6960"/>
                  <a:pt x="3262" y="6421"/>
                  <a:pt x="3610" y="6105"/>
                </a:cubicBezTo>
                <a:cubicBezTo>
                  <a:pt x="3737" y="5946"/>
                  <a:pt x="3737" y="5725"/>
                  <a:pt x="3610" y="5566"/>
                </a:cubicBezTo>
                <a:lnTo>
                  <a:pt x="2787" y="4775"/>
                </a:lnTo>
                <a:lnTo>
                  <a:pt x="4782" y="2780"/>
                </a:lnTo>
                <a:lnTo>
                  <a:pt x="5574" y="3571"/>
                </a:lnTo>
                <a:cubicBezTo>
                  <a:pt x="5653" y="3650"/>
                  <a:pt x="5756" y="3690"/>
                  <a:pt x="5855" y="3690"/>
                </a:cubicBezTo>
                <a:cubicBezTo>
                  <a:pt x="5954" y="3690"/>
                  <a:pt x="6049" y="3650"/>
                  <a:pt x="6112" y="3571"/>
                </a:cubicBezTo>
                <a:cubicBezTo>
                  <a:pt x="6286" y="3413"/>
                  <a:pt x="6500" y="3334"/>
                  <a:pt x="6714" y="3334"/>
                </a:cubicBezTo>
                <a:cubicBezTo>
                  <a:pt x="6928" y="3334"/>
                  <a:pt x="7141" y="3413"/>
                  <a:pt x="7316" y="3571"/>
                </a:cubicBezTo>
                <a:lnTo>
                  <a:pt x="9913" y="6200"/>
                </a:lnTo>
                <a:cubicBezTo>
                  <a:pt x="9762" y="6269"/>
                  <a:pt x="9598" y="6305"/>
                  <a:pt x="9434" y="6305"/>
                </a:cubicBezTo>
                <a:cubicBezTo>
                  <a:pt x="9151" y="6305"/>
                  <a:pt x="8866" y="6199"/>
                  <a:pt x="8646" y="5978"/>
                </a:cubicBezTo>
                <a:lnTo>
                  <a:pt x="7727" y="5060"/>
                </a:lnTo>
                <a:cubicBezTo>
                  <a:pt x="7664" y="4981"/>
                  <a:pt x="7569" y="4941"/>
                  <a:pt x="7470" y="4941"/>
                </a:cubicBezTo>
                <a:cubicBezTo>
                  <a:pt x="7371" y="4941"/>
                  <a:pt x="7268" y="4981"/>
                  <a:pt x="7189" y="5060"/>
                </a:cubicBezTo>
                <a:cubicBezTo>
                  <a:pt x="7062" y="5218"/>
                  <a:pt x="7062" y="5440"/>
                  <a:pt x="7189" y="5598"/>
                </a:cubicBezTo>
                <a:lnTo>
                  <a:pt x="8107" y="6516"/>
                </a:lnTo>
                <a:cubicBezTo>
                  <a:pt x="8487" y="6881"/>
                  <a:pt x="8970" y="7063"/>
                  <a:pt x="9453" y="7063"/>
                </a:cubicBezTo>
                <a:cubicBezTo>
                  <a:pt x="9936" y="7063"/>
                  <a:pt x="10419" y="6881"/>
                  <a:pt x="10799" y="6516"/>
                </a:cubicBezTo>
                <a:cubicBezTo>
                  <a:pt x="10926" y="6358"/>
                  <a:pt x="10926" y="6136"/>
                  <a:pt x="10799" y="5978"/>
                </a:cubicBezTo>
                <a:lnTo>
                  <a:pt x="7854" y="3033"/>
                </a:lnTo>
                <a:cubicBezTo>
                  <a:pt x="7537" y="2735"/>
                  <a:pt x="7121" y="2579"/>
                  <a:pt x="6710" y="2579"/>
                </a:cubicBezTo>
                <a:cubicBezTo>
                  <a:pt x="6423" y="2579"/>
                  <a:pt x="6138" y="2655"/>
                  <a:pt x="5891" y="2811"/>
                </a:cubicBezTo>
                <a:lnTo>
                  <a:pt x="5320" y="2241"/>
                </a:lnTo>
                <a:lnTo>
                  <a:pt x="5637" y="1924"/>
                </a:lnTo>
                <a:cubicBezTo>
                  <a:pt x="5701" y="1861"/>
                  <a:pt x="5732" y="1766"/>
                  <a:pt x="5732" y="1671"/>
                </a:cubicBezTo>
                <a:cubicBezTo>
                  <a:pt x="5732" y="1544"/>
                  <a:pt x="5701" y="1449"/>
                  <a:pt x="5637" y="1386"/>
                </a:cubicBezTo>
                <a:lnTo>
                  <a:pt x="4370" y="119"/>
                </a:lnTo>
                <a:cubicBezTo>
                  <a:pt x="4291" y="40"/>
                  <a:pt x="4188" y="1"/>
                  <a:pt x="408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85" name="Google Shape;1285;p34"/>
          <p:cNvSpPr/>
          <p:nvPr/>
        </p:nvSpPr>
        <p:spPr>
          <a:xfrm>
            <a:off x="6318168" y="4026822"/>
            <a:ext cx="482747" cy="585634"/>
          </a:xfrm>
          <a:custGeom>
            <a:avLst/>
            <a:gdLst/>
            <a:ahLst/>
            <a:cxnLst/>
            <a:rect l="l" t="t" r="r" b="b"/>
            <a:pathLst>
              <a:path w="11148" h="13524" extrusionOk="0">
                <a:moveTo>
                  <a:pt x="6207" y="3642"/>
                </a:moveTo>
                <a:cubicBezTo>
                  <a:pt x="6492" y="3642"/>
                  <a:pt x="6746" y="3737"/>
                  <a:pt x="6936" y="3927"/>
                </a:cubicBezTo>
                <a:cubicBezTo>
                  <a:pt x="7126" y="4117"/>
                  <a:pt x="7252" y="4402"/>
                  <a:pt x="7252" y="4656"/>
                </a:cubicBezTo>
                <a:cubicBezTo>
                  <a:pt x="7252" y="5258"/>
                  <a:pt x="6777" y="5701"/>
                  <a:pt x="6207" y="5701"/>
                </a:cubicBezTo>
                <a:cubicBezTo>
                  <a:pt x="5637" y="5701"/>
                  <a:pt x="5162" y="5226"/>
                  <a:pt x="5162" y="4656"/>
                </a:cubicBezTo>
                <a:cubicBezTo>
                  <a:pt x="5162" y="4086"/>
                  <a:pt x="5637" y="3642"/>
                  <a:pt x="6207" y="3642"/>
                </a:cubicBezTo>
                <a:close/>
                <a:moveTo>
                  <a:pt x="6207" y="3262"/>
                </a:moveTo>
                <a:cubicBezTo>
                  <a:pt x="5416" y="3262"/>
                  <a:pt x="4782" y="3896"/>
                  <a:pt x="4782" y="4656"/>
                </a:cubicBezTo>
                <a:cubicBezTo>
                  <a:pt x="4782" y="5448"/>
                  <a:pt x="5416" y="6081"/>
                  <a:pt x="6207" y="6081"/>
                </a:cubicBezTo>
                <a:cubicBezTo>
                  <a:pt x="6999" y="6081"/>
                  <a:pt x="7632" y="5448"/>
                  <a:pt x="7632" y="4656"/>
                </a:cubicBezTo>
                <a:cubicBezTo>
                  <a:pt x="7632" y="4276"/>
                  <a:pt x="7474" y="3927"/>
                  <a:pt x="7221" y="3674"/>
                </a:cubicBezTo>
                <a:cubicBezTo>
                  <a:pt x="6936" y="3389"/>
                  <a:pt x="6587" y="3262"/>
                  <a:pt x="6207" y="3262"/>
                </a:cubicBezTo>
                <a:close/>
                <a:moveTo>
                  <a:pt x="6397" y="1584"/>
                </a:moveTo>
                <a:cubicBezTo>
                  <a:pt x="6429" y="1584"/>
                  <a:pt x="6429" y="1616"/>
                  <a:pt x="6429" y="1647"/>
                </a:cubicBezTo>
                <a:lnTo>
                  <a:pt x="6429" y="1837"/>
                </a:lnTo>
                <a:cubicBezTo>
                  <a:pt x="6429" y="1932"/>
                  <a:pt x="6524" y="2027"/>
                  <a:pt x="6619" y="2027"/>
                </a:cubicBezTo>
                <a:cubicBezTo>
                  <a:pt x="6809" y="2059"/>
                  <a:pt x="6999" y="2122"/>
                  <a:pt x="7189" y="2186"/>
                </a:cubicBezTo>
                <a:cubicBezTo>
                  <a:pt x="7217" y="2204"/>
                  <a:pt x="7245" y="2212"/>
                  <a:pt x="7272" y="2212"/>
                </a:cubicBezTo>
                <a:cubicBezTo>
                  <a:pt x="7337" y="2212"/>
                  <a:pt x="7398" y="2167"/>
                  <a:pt x="7442" y="2122"/>
                </a:cubicBezTo>
                <a:lnTo>
                  <a:pt x="7537" y="1932"/>
                </a:lnTo>
                <a:cubicBezTo>
                  <a:pt x="7537" y="1932"/>
                  <a:pt x="7569" y="1901"/>
                  <a:pt x="7569" y="1901"/>
                </a:cubicBezTo>
                <a:lnTo>
                  <a:pt x="7601" y="1901"/>
                </a:lnTo>
                <a:lnTo>
                  <a:pt x="7917" y="2091"/>
                </a:lnTo>
                <a:cubicBezTo>
                  <a:pt x="7917" y="2091"/>
                  <a:pt x="7949" y="2154"/>
                  <a:pt x="7917" y="2154"/>
                </a:cubicBezTo>
                <a:lnTo>
                  <a:pt x="7822" y="2344"/>
                </a:lnTo>
                <a:cubicBezTo>
                  <a:pt x="7791" y="2439"/>
                  <a:pt x="7791" y="2534"/>
                  <a:pt x="7886" y="2597"/>
                </a:cubicBezTo>
                <a:cubicBezTo>
                  <a:pt x="8044" y="2724"/>
                  <a:pt x="8171" y="2851"/>
                  <a:pt x="8297" y="3009"/>
                </a:cubicBezTo>
                <a:cubicBezTo>
                  <a:pt x="8338" y="3069"/>
                  <a:pt x="8391" y="3091"/>
                  <a:pt x="8448" y="3091"/>
                </a:cubicBezTo>
                <a:cubicBezTo>
                  <a:pt x="8481" y="3091"/>
                  <a:pt x="8516" y="3084"/>
                  <a:pt x="8551" y="3072"/>
                </a:cubicBezTo>
                <a:lnTo>
                  <a:pt x="8741" y="2977"/>
                </a:lnTo>
                <a:cubicBezTo>
                  <a:pt x="8741" y="2962"/>
                  <a:pt x="8749" y="2954"/>
                  <a:pt x="8761" y="2954"/>
                </a:cubicBezTo>
                <a:cubicBezTo>
                  <a:pt x="8773" y="2954"/>
                  <a:pt x="8788" y="2962"/>
                  <a:pt x="8804" y="2977"/>
                </a:cubicBezTo>
                <a:lnTo>
                  <a:pt x="8963" y="3294"/>
                </a:lnTo>
                <a:cubicBezTo>
                  <a:pt x="8994" y="3294"/>
                  <a:pt x="8994" y="3326"/>
                  <a:pt x="8963" y="3357"/>
                </a:cubicBezTo>
                <a:lnTo>
                  <a:pt x="8773" y="3452"/>
                </a:lnTo>
                <a:cubicBezTo>
                  <a:pt x="8709" y="3516"/>
                  <a:pt x="8646" y="3611"/>
                  <a:pt x="8709" y="3706"/>
                </a:cubicBezTo>
                <a:cubicBezTo>
                  <a:pt x="8773" y="3896"/>
                  <a:pt x="8836" y="4086"/>
                  <a:pt x="8868" y="4276"/>
                </a:cubicBezTo>
                <a:cubicBezTo>
                  <a:pt x="8868" y="4371"/>
                  <a:pt x="8963" y="4434"/>
                  <a:pt x="9058" y="4434"/>
                </a:cubicBezTo>
                <a:lnTo>
                  <a:pt x="9248" y="4434"/>
                </a:lnTo>
                <a:cubicBezTo>
                  <a:pt x="9248" y="4434"/>
                  <a:pt x="9248" y="4466"/>
                  <a:pt x="9279" y="4466"/>
                </a:cubicBezTo>
                <a:cubicBezTo>
                  <a:pt x="9279" y="4466"/>
                  <a:pt x="9279" y="4466"/>
                  <a:pt x="9279" y="4497"/>
                </a:cubicBezTo>
                <a:lnTo>
                  <a:pt x="9279" y="4846"/>
                </a:lnTo>
                <a:cubicBezTo>
                  <a:pt x="9279" y="4877"/>
                  <a:pt x="9279" y="4909"/>
                  <a:pt x="9248" y="4909"/>
                </a:cubicBezTo>
                <a:lnTo>
                  <a:pt x="9026" y="4909"/>
                </a:lnTo>
                <a:cubicBezTo>
                  <a:pt x="8931" y="4909"/>
                  <a:pt x="8868" y="4972"/>
                  <a:pt x="8836" y="5068"/>
                </a:cubicBezTo>
                <a:cubicBezTo>
                  <a:pt x="8804" y="5258"/>
                  <a:pt x="8773" y="5448"/>
                  <a:pt x="8678" y="5638"/>
                </a:cubicBezTo>
                <a:cubicBezTo>
                  <a:pt x="8646" y="5733"/>
                  <a:pt x="8678" y="5828"/>
                  <a:pt x="8773" y="5891"/>
                </a:cubicBezTo>
                <a:lnTo>
                  <a:pt x="8931" y="5986"/>
                </a:lnTo>
                <a:cubicBezTo>
                  <a:pt x="8963" y="5986"/>
                  <a:pt x="8994" y="6049"/>
                  <a:pt x="8963" y="6049"/>
                </a:cubicBezTo>
                <a:lnTo>
                  <a:pt x="8804" y="6366"/>
                </a:lnTo>
                <a:cubicBezTo>
                  <a:pt x="8788" y="6382"/>
                  <a:pt x="8773" y="6390"/>
                  <a:pt x="8757" y="6390"/>
                </a:cubicBezTo>
                <a:cubicBezTo>
                  <a:pt x="8741" y="6390"/>
                  <a:pt x="8725" y="6382"/>
                  <a:pt x="8709" y="6366"/>
                </a:cubicBezTo>
                <a:lnTo>
                  <a:pt x="8551" y="6271"/>
                </a:lnTo>
                <a:cubicBezTo>
                  <a:pt x="8516" y="6259"/>
                  <a:pt x="8481" y="6252"/>
                  <a:pt x="8448" y="6252"/>
                </a:cubicBezTo>
                <a:cubicBezTo>
                  <a:pt x="8391" y="6252"/>
                  <a:pt x="8338" y="6274"/>
                  <a:pt x="8297" y="6334"/>
                </a:cubicBezTo>
                <a:cubicBezTo>
                  <a:pt x="8171" y="6493"/>
                  <a:pt x="8012" y="6619"/>
                  <a:pt x="7854" y="6746"/>
                </a:cubicBezTo>
                <a:cubicBezTo>
                  <a:pt x="7791" y="6809"/>
                  <a:pt x="7759" y="6904"/>
                  <a:pt x="7822" y="6999"/>
                </a:cubicBezTo>
                <a:lnTo>
                  <a:pt x="7917" y="7189"/>
                </a:lnTo>
                <a:cubicBezTo>
                  <a:pt x="7917" y="7189"/>
                  <a:pt x="7917" y="7221"/>
                  <a:pt x="7917" y="7221"/>
                </a:cubicBezTo>
                <a:cubicBezTo>
                  <a:pt x="7917" y="7221"/>
                  <a:pt x="7917" y="7253"/>
                  <a:pt x="7886" y="7253"/>
                </a:cubicBezTo>
                <a:lnTo>
                  <a:pt x="7601" y="7443"/>
                </a:lnTo>
                <a:lnTo>
                  <a:pt x="7537" y="7443"/>
                </a:lnTo>
                <a:cubicBezTo>
                  <a:pt x="7537" y="7443"/>
                  <a:pt x="7537" y="7443"/>
                  <a:pt x="7506" y="7411"/>
                </a:cubicBezTo>
                <a:lnTo>
                  <a:pt x="7411" y="7221"/>
                </a:lnTo>
                <a:cubicBezTo>
                  <a:pt x="7388" y="7175"/>
                  <a:pt x="7330" y="7145"/>
                  <a:pt x="7264" y="7145"/>
                </a:cubicBezTo>
                <a:cubicBezTo>
                  <a:pt x="7240" y="7145"/>
                  <a:pt x="7215" y="7149"/>
                  <a:pt x="7189" y="7158"/>
                </a:cubicBezTo>
                <a:cubicBezTo>
                  <a:pt x="6999" y="7221"/>
                  <a:pt x="6809" y="7284"/>
                  <a:pt x="6587" y="7316"/>
                </a:cubicBezTo>
                <a:cubicBezTo>
                  <a:pt x="6492" y="7316"/>
                  <a:pt x="6429" y="7411"/>
                  <a:pt x="6429" y="7506"/>
                </a:cubicBezTo>
                <a:lnTo>
                  <a:pt x="6429" y="7696"/>
                </a:lnTo>
                <a:cubicBezTo>
                  <a:pt x="6429" y="7728"/>
                  <a:pt x="6397" y="7759"/>
                  <a:pt x="6366" y="7759"/>
                </a:cubicBezTo>
                <a:lnTo>
                  <a:pt x="6017" y="7759"/>
                </a:lnTo>
                <a:cubicBezTo>
                  <a:pt x="5986" y="7759"/>
                  <a:pt x="5986" y="7728"/>
                  <a:pt x="5986" y="7696"/>
                </a:cubicBezTo>
                <a:lnTo>
                  <a:pt x="5986" y="7506"/>
                </a:lnTo>
                <a:cubicBezTo>
                  <a:pt x="5986" y="7411"/>
                  <a:pt x="5922" y="7316"/>
                  <a:pt x="5827" y="7316"/>
                </a:cubicBezTo>
                <a:cubicBezTo>
                  <a:pt x="5606" y="7284"/>
                  <a:pt x="5416" y="7221"/>
                  <a:pt x="5226" y="7158"/>
                </a:cubicBezTo>
                <a:cubicBezTo>
                  <a:pt x="5200" y="7149"/>
                  <a:pt x="5175" y="7145"/>
                  <a:pt x="5150" y="7145"/>
                </a:cubicBezTo>
                <a:cubicBezTo>
                  <a:pt x="5084" y="7145"/>
                  <a:pt x="5027" y="7175"/>
                  <a:pt x="5004" y="7221"/>
                </a:cubicBezTo>
                <a:lnTo>
                  <a:pt x="4877" y="7411"/>
                </a:lnTo>
                <a:cubicBezTo>
                  <a:pt x="4877" y="7443"/>
                  <a:pt x="4846" y="7443"/>
                  <a:pt x="4814" y="7443"/>
                </a:cubicBezTo>
                <a:lnTo>
                  <a:pt x="4497" y="7253"/>
                </a:lnTo>
                <a:cubicBezTo>
                  <a:pt x="4497" y="7253"/>
                  <a:pt x="4466" y="7221"/>
                  <a:pt x="4497" y="7189"/>
                </a:cubicBezTo>
                <a:lnTo>
                  <a:pt x="4592" y="6999"/>
                </a:lnTo>
                <a:cubicBezTo>
                  <a:pt x="4656" y="6936"/>
                  <a:pt x="4624" y="6809"/>
                  <a:pt x="4561" y="6746"/>
                </a:cubicBezTo>
                <a:cubicBezTo>
                  <a:pt x="4402" y="6619"/>
                  <a:pt x="4244" y="6493"/>
                  <a:pt x="4117" y="6334"/>
                </a:cubicBezTo>
                <a:cubicBezTo>
                  <a:pt x="4077" y="6274"/>
                  <a:pt x="4024" y="6252"/>
                  <a:pt x="3967" y="6252"/>
                </a:cubicBezTo>
                <a:cubicBezTo>
                  <a:pt x="3933" y="6252"/>
                  <a:pt x="3899" y="6259"/>
                  <a:pt x="3864" y="6271"/>
                </a:cubicBezTo>
                <a:lnTo>
                  <a:pt x="3705" y="6398"/>
                </a:lnTo>
                <a:cubicBezTo>
                  <a:pt x="3674" y="6398"/>
                  <a:pt x="3642" y="6398"/>
                  <a:pt x="3610" y="6366"/>
                </a:cubicBezTo>
                <a:lnTo>
                  <a:pt x="3452" y="6081"/>
                </a:lnTo>
                <a:cubicBezTo>
                  <a:pt x="3420" y="6049"/>
                  <a:pt x="3452" y="6018"/>
                  <a:pt x="3452" y="5986"/>
                </a:cubicBezTo>
                <a:lnTo>
                  <a:pt x="3642" y="5891"/>
                </a:lnTo>
                <a:cubicBezTo>
                  <a:pt x="3737" y="5828"/>
                  <a:pt x="3769" y="5733"/>
                  <a:pt x="3737" y="5669"/>
                </a:cubicBezTo>
                <a:cubicBezTo>
                  <a:pt x="3642" y="5479"/>
                  <a:pt x="3610" y="5258"/>
                  <a:pt x="3579" y="5068"/>
                </a:cubicBezTo>
                <a:cubicBezTo>
                  <a:pt x="3547" y="4972"/>
                  <a:pt x="3484" y="4909"/>
                  <a:pt x="3389" y="4909"/>
                </a:cubicBezTo>
                <a:lnTo>
                  <a:pt x="3167" y="4909"/>
                </a:lnTo>
                <a:cubicBezTo>
                  <a:pt x="3135" y="4909"/>
                  <a:pt x="3104" y="4877"/>
                  <a:pt x="3104" y="4846"/>
                </a:cubicBezTo>
                <a:lnTo>
                  <a:pt x="3104" y="4497"/>
                </a:lnTo>
                <a:cubicBezTo>
                  <a:pt x="3104" y="4466"/>
                  <a:pt x="3135" y="4434"/>
                  <a:pt x="3167" y="4434"/>
                </a:cubicBezTo>
                <a:lnTo>
                  <a:pt x="3389" y="4434"/>
                </a:lnTo>
                <a:cubicBezTo>
                  <a:pt x="3484" y="4434"/>
                  <a:pt x="3547" y="4371"/>
                  <a:pt x="3579" y="4276"/>
                </a:cubicBezTo>
                <a:cubicBezTo>
                  <a:pt x="3610" y="4086"/>
                  <a:pt x="3642" y="3896"/>
                  <a:pt x="3737" y="3706"/>
                </a:cubicBezTo>
                <a:cubicBezTo>
                  <a:pt x="3769" y="3611"/>
                  <a:pt x="3737" y="3516"/>
                  <a:pt x="3642" y="3452"/>
                </a:cubicBezTo>
                <a:lnTo>
                  <a:pt x="3452" y="3357"/>
                </a:lnTo>
                <a:cubicBezTo>
                  <a:pt x="3452" y="3357"/>
                  <a:pt x="3452" y="3326"/>
                  <a:pt x="3452" y="3326"/>
                </a:cubicBezTo>
                <a:cubicBezTo>
                  <a:pt x="3452" y="3326"/>
                  <a:pt x="3452" y="3294"/>
                  <a:pt x="3452" y="3294"/>
                </a:cubicBezTo>
                <a:lnTo>
                  <a:pt x="3610" y="2977"/>
                </a:lnTo>
                <a:lnTo>
                  <a:pt x="3642" y="2977"/>
                </a:lnTo>
                <a:cubicBezTo>
                  <a:pt x="3658" y="2962"/>
                  <a:pt x="3666" y="2954"/>
                  <a:pt x="3674" y="2954"/>
                </a:cubicBezTo>
                <a:cubicBezTo>
                  <a:pt x="3682" y="2954"/>
                  <a:pt x="3690" y="2962"/>
                  <a:pt x="3705" y="2977"/>
                </a:cubicBezTo>
                <a:lnTo>
                  <a:pt x="3864" y="3072"/>
                </a:lnTo>
                <a:cubicBezTo>
                  <a:pt x="3899" y="3084"/>
                  <a:pt x="3933" y="3091"/>
                  <a:pt x="3967" y="3091"/>
                </a:cubicBezTo>
                <a:cubicBezTo>
                  <a:pt x="4024" y="3091"/>
                  <a:pt x="4077" y="3069"/>
                  <a:pt x="4117" y="3009"/>
                </a:cubicBezTo>
                <a:cubicBezTo>
                  <a:pt x="4244" y="2851"/>
                  <a:pt x="4402" y="2724"/>
                  <a:pt x="4561" y="2597"/>
                </a:cubicBezTo>
                <a:cubicBezTo>
                  <a:pt x="4624" y="2534"/>
                  <a:pt x="4656" y="2439"/>
                  <a:pt x="4592" y="2344"/>
                </a:cubicBezTo>
                <a:lnTo>
                  <a:pt x="4497" y="2154"/>
                </a:lnTo>
                <a:cubicBezTo>
                  <a:pt x="4497" y="2154"/>
                  <a:pt x="4497" y="2122"/>
                  <a:pt x="4529" y="2091"/>
                </a:cubicBezTo>
                <a:lnTo>
                  <a:pt x="4814" y="1932"/>
                </a:lnTo>
                <a:cubicBezTo>
                  <a:pt x="4846" y="1901"/>
                  <a:pt x="4846" y="1901"/>
                  <a:pt x="4877" y="1901"/>
                </a:cubicBezTo>
                <a:cubicBezTo>
                  <a:pt x="4877" y="1932"/>
                  <a:pt x="4877" y="1932"/>
                  <a:pt x="4909" y="1932"/>
                </a:cubicBezTo>
                <a:lnTo>
                  <a:pt x="5004" y="2122"/>
                </a:lnTo>
                <a:cubicBezTo>
                  <a:pt x="5027" y="2169"/>
                  <a:pt x="5101" y="2198"/>
                  <a:pt x="5164" y="2198"/>
                </a:cubicBezTo>
                <a:cubicBezTo>
                  <a:pt x="5187" y="2198"/>
                  <a:pt x="5209" y="2194"/>
                  <a:pt x="5226" y="2186"/>
                </a:cubicBezTo>
                <a:cubicBezTo>
                  <a:pt x="5416" y="2122"/>
                  <a:pt x="5637" y="2059"/>
                  <a:pt x="5827" y="2027"/>
                </a:cubicBezTo>
                <a:cubicBezTo>
                  <a:pt x="5922" y="2027"/>
                  <a:pt x="5986" y="1932"/>
                  <a:pt x="5986" y="1837"/>
                </a:cubicBezTo>
                <a:lnTo>
                  <a:pt x="5986" y="1647"/>
                </a:lnTo>
                <a:cubicBezTo>
                  <a:pt x="5986" y="1616"/>
                  <a:pt x="6017" y="1584"/>
                  <a:pt x="6049" y="1584"/>
                </a:cubicBezTo>
                <a:close/>
                <a:moveTo>
                  <a:pt x="6017" y="1204"/>
                </a:moveTo>
                <a:cubicBezTo>
                  <a:pt x="5796" y="1204"/>
                  <a:pt x="5606" y="1394"/>
                  <a:pt x="5606" y="1647"/>
                </a:cubicBezTo>
                <a:lnTo>
                  <a:pt x="5606" y="1679"/>
                </a:lnTo>
                <a:cubicBezTo>
                  <a:pt x="5479" y="1711"/>
                  <a:pt x="5352" y="1742"/>
                  <a:pt x="5257" y="1774"/>
                </a:cubicBezTo>
                <a:lnTo>
                  <a:pt x="5226" y="1742"/>
                </a:lnTo>
                <a:cubicBezTo>
                  <a:pt x="5162" y="1647"/>
                  <a:pt x="5067" y="1552"/>
                  <a:pt x="4941" y="1521"/>
                </a:cubicBezTo>
                <a:cubicBezTo>
                  <a:pt x="4915" y="1512"/>
                  <a:pt x="4887" y="1508"/>
                  <a:pt x="4859" y="1508"/>
                </a:cubicBezTo>
                <a:cubicBezTo>
                  <a:pt x="4780" y="1508"/>
                  <a:pt x="4693" y="1538"/>
                  <a:pt x="4624" y="1584"/>
                </a:cubicBezTo>
                <a:lnTo>
                  <a:pt x="4339" y="1742"/>
                </a:lnTo>
                <a:cubicBezTo>
                  <a:pt x="4117" y="1869"/>
                  <a:pt x="4054" y="2154"/>
                  <a:pt x="4181" y="2344"/>
                </a:cubicBezTo>
                <a:lnTo>
                  <a:pt x="4181" y="2407"/>
                </a:lnTo>
                <a:cubicBezTo>
                  <a:pt x="4086" y="2471"/>
                  <a:pt x="4022" y="2566"/>
                  <a:pt x="3927" y="2661"/>
                </a:cubicBezTo>
                <a:lnTo>
                  <a:pt x="3895" y="2629"/>
                </a:lnTo>
                <a:cubicBezTo>
                  <a:pt x="3800" y="2566"/>
                  <a:pt x="3674" y="2566"/>
                  <a:pt x="3547" y="2566"/>
                </a:cubicBezTo>
                <a:cubicBezTo>
                  <a:pt x="3452" y="2597"/>
                  <a:pt x="3357" y="2692"/>
                  <a:pt x="3294" y="2787"/>
                </a:cubicBezTo>
                <a:lnTo>
                  <a:pt x="3135" y="3072"/>
                </a:lnTo>
                <a:cubicBezTo>
                  <a:pt x="3072" y="3167"/>
                  <a:pt x="3040" y="3294"/>
                  <a:pt x="3072" y="3421"/>
                </a:cubicBezTo>
                <a:cubicBezTo>
                  <a:pt x="3104" y="3516"/>
                  <a:pt x="3167" y="3611"/>
                  <a:pt x="3294" y="3674"/>
                </a:cubicBezTo>
                <a:cubicBezTo>
                  <a:pt x="3294" y="3674"/>
                  <a:pt x="3294" y="3706"/>
                  <a:pt x="3325" y="3706"/>
                </a:cubicBezTo>
                <a:cubicBezTo>
                  <a:pt x="3294" y="3832"/>
                  <a:pt x="3262" y="3927"/>
                  <a:pt x="3230" y="4054"/>
                </a:cubicBezTo>
                <a:lnTo>
                  <a:pt x="3167" y="4054"/>
                </a:lnTo>
                <a:cubicBezTo>
                  <a:pt x="2945" y="4054"/>
                  <a:pt x="2755" y="4244"/>
                  <a:pt x="2755" y="4497"/>
                </a:cubicBezTo>
                <a:lnTo>
                  <a:pt x="2755" y="4846"/>
                </a:lnTo>
                <a:cubicBezTo>
                  <a:pt x="2755" y="5068"/>
                  <a:pt x="2945" y="5289"/>
                  <a:pt x="3167" y="5289"/>
                </a:cubicBezTo>
                <a:lnTo>
                  <a:pt x="3230" y="5289"/>
                </a:lnTo>
                <a:cubicBezTo>
                  <a:pt x="3262" y="5384"/>
                  <a:pt x="3294" y="5511"/>
                  <a:pt x="3325" y="5638"/>
                </a:cubicBezTo>
                <a:lnTo>
                  <a:pt x="3294" y="5638"/>
                </a:lnTo>
                <a:cubicBezTo>
                  <a:pt x="3072" y="5764"/>
                  <a:pt x="3009" y="6049"/>
                  <a:pt x="3135" y="6239"/>
                </a:cubicBezTo>
                <a:lnTo>
                  <a:pt x="3294" y="6556"/>
                </a:lnTo>
                <a:cubicBezTo>
                  <a:pt x="3381" y="6687"/>
                  <a:pt x="3529" y="6758"/>
                  <a:pt x="3685" y="6758"/>
                </a:cubicBezTo>
                <a:cubicBezTo>
                  <a:pt x="3755" y="6758"/>
                  <a:pt x="3827" y="6744"/>
                  <a:pt x="3895" y="6714"/>
                </a:cubicBezTo>
                <a:cubicBezTo>
                  <a:pt x="3895" y="6714"/>
                  <a:pt x="3927" y="6683"/>
                  <a:pt x="3927" y="6683"/>
                </a:cubicBezTo>
                <a:cubicBezTo>
                  <a:pt x="4022" y="6778"/>
                  <a:pt x="4117" y="6841"/>
                  <a:pt x="4181" y="6936"/>
                </a:cubicBezTo>
                <a:lnTo>
                  <a:pt x="4181" y="6968"/>
                </a:lnTo>
                <a:cubicBezTo>
                  <a:pt x="4054" y="7189"/>
                  <a:pt x="4117" y="7443"/>
                  <a:pt x="4339" y="7569"/>
                </a:cubicBezTo>
                <a:lnTo>
                  <a:pt x="4624" y="7759"/>
                </a:lnTo>
                <a:cubicBezTo>
                  <a:pt x="4693" y="7789"/>
                  <a:pt x="4764" y="7803"/>
                  <a:pt x="4834" y="7803"/>
                </a:cubicBezTo>
                <a:cubicBezTo>
                  <a:pt x="4990" y="7803"/>
                  <a:pt x="5138" y="7732"/>
                  <a:pt x="5226" y="7601"/>
                </a:cubicBezTo>
                <a:lnTo>
                  <a:pt x="5257" y="7538"/>
                </a:lnTo>
                <a:cubicBezTo>
                  <a:pt x="5352" y="7601"/>
                  <a:pt x="5479" y="7633"/>
                  <a:pt x="5606" y="7633"/>
                </a:cubicBezTo>
                <a:lnTo>
                  <a:pt x="5606" y="7696"/>
                </a:lnTo>
                <a:cubicBezTo>
                  <a:pt x="5606" y="7918"/>
                  <a:pt x="5796" y="8139"/>
                  <a:pt x="6049" y="8139"/>
                </a:cubicBezTo>
                <a:lnTo>
                  <a:pt x="6397" y="8139"/>
                </a:lnTo>
                <a:cubicBezTo>
                  <a:pt x="6619" y="8139"/>
                  <a:pt x="6809" y="7918"/>
                  <a:pt x="6809" y="7696"/>
                </a:cubicBezTo>
                <a:lnTo>
                  <a:pt x="6809" y="7633"/>
                </a:lnTo>
                <a:cubicBezTo>
                  <a:pt x="6936" y="7633"/>
                  <a:pt x="7062" y="7601"/>
                  <a:pt x="7157" y="7538"/>
                </a:cubicBezTo>
                <a:lnTo>
                  <a:pt x="7189" y="7601"/>
                </a:lnTo>
                <a:cubicBezTo>
                  <a:pt x="7252" y="7696"/>
                  <a:pt x="7347" y="7759"/>
                  <a:pt x="7474" y="7791"/>
                </a:cubicBezTo>
                <a:cubicBezTo>
                  <a:pt x="7513" y="7804"/>
                  <a:pt x="7558" y="7812"/>
                  <a:pt x="7604" y="7812"/>
                </a:cubicBezTo>
                <a:cubicBezTo>
                  <a:pt x="7669" y="7812"/>
                  <a:pt x="7735" y="7796"/>
                  <a:pt x="7791" y="7759"/>
                </a:cubicBezTo>
                <a:lnTo>
                  <a:pt x="8076" y="7569"/>
                </a:lnTo>
                <a:cubicBezTo>
                  <a:pt x="8202" y="7506"/>
                  <a:pt x="8266" y="7411"/>
                  <a:pt x="8297" y="7316"/>
                </a:cubicBezTo>
                <a:cubicBezTo>
                  <a:pt x="8329" y="7189"/>
                  <a:pt x="8297" y="7094"/>
                  <a:pt x="8234" y="6968"/>
                </a:cubicBezTo>
                <a:lnTo>
                  <a:pt x="8234" y="6936"/>
                </a:lnTo>
                <a:cubicBezTo>
                  <a:pt x="8329" y="6841"/>
                  <a:pt x="8393" y="6778"/>
                  <a:pt x="8488" y="6683"/>
                </a:cubicBezTo>
                <a:lnTo>
                  <a:pt x="8519" y="6714"/>
                </a:lnTo>
                <a:cubicBezTo>
                  <a:pt x="8588" y="6744"/>
                  <a:pt x="8659" y="6758"/>
                  <a:pt x="8729" y="6758"/>
                </a:cubicBezTo>
                <a:cubicBezTo>
                  <a:pt x="8886" y="6758"/>
                  <a:pt x="9033" y="6687"/>
                  <a:pt x="9121" y="6556"/>
                </a:cubicBezTo>
                <a:lnTo>
                  <a:pt x="9311" y="6239"/>
                </a:lnTo>
                <a:cubicBezTo>
                  <a:pt x="9406" y="6049"/>
                  <a:pt x="9343" y="5764"/>
                  <a:pt x="9153" y="5638"/>
                </a:cubicBezTo>
                <a:cubicBezTo>
                  <a:pt x="9153" y="5638"/>
                  <a:pt x="9121" y="5638"/>
                  <a:pt x="9089" y="5606"/>
                </a:cubicBezTo>
                <a:cubicBezTo>
                  <a:pt x="9121" y="5511"/>
                  <a:pt x="9153" y="5384"/>
                  <a:pt x="9184" y="5258"/>
                </a:cubicBezTo>
                <a:lnTo>
                  <a:pt x="9248" y="5258"/>
                </a:lnTo>
                <a:cubicBezTo>
                  <a:pt x="9469" y="5258"/>
                  <a:pt x="9659" y="5068"/>
                  <a:pt x="9659" y="4846"/>
                </a:cubicBezTo>
                <a:lnTo>
                  <a:pt x="9659" y="4497"/>
                </a:lnTo>
                <a:cubicBezTo>
                  <a:pt x="9659" y="4371"/>
                  <a:pt x="9628" y="4276"/>
                  <a:pt x="9533" y="4181"/>
                </a:cubicBezTo>
                <a:cubicBezTo>
                  <a:pt x="9469" y="4086"/>
                  <a:pt x="9343" y="4054"/>
                  <a:pt x="9248" y="4054"/>
                </a:cubicBezTo>
                <a:lnTo>
                  <a:pt x="9184" y="4054"/>
                </a:lnTo>
                <a:cubicBezTo>
                  <a:pt x="9153" y="3927"/>
                  <a:pt x="9121" y="3801"/>
                  <a:pt x="9089" y="3706"/>
                </a:cubicBezTo>
                <a:lnTo>
                  <a:pt x="9153" y="3674"/>
                </a:lnTo>
                <a:cubicBezTo>
                  <a:pt x="9343" y="3547"/>
                  <a:pt x="9406" y="3294"/>
                  <a:pt x="9311" y="3072"/>
                </a:cubicBezTo>
                <a:lnTo>
                  <a:pt x="9121" y="2787"/>
                </a:lnTo>
                <a:cubicBezTo>
                  <a:pt x="9038" y="2642"/>
                  <a:pt x="8900" y="2564"/>
                  <a:pt x="8752" y="2564"/>
                </a:cubicBezTo>
                <a:cubicBezTo>
                  <a:pt x="8675" y="2564"/>
                  <a:pt x="8595" y="2586"/>
                  <a:pt x="8519" y="2629"/>
                </a:cubicBezTo>
                <a:cubicBezTo>
                  <a:pt x="8519" y="2629"/>
                  <a:pt x="8488" y="2629"/>
                  <a:pt x="8488" y="2661"/>
                </a:cubicBezTo>
                <a:cubicBezTo>
                  <a:pt x="8393" y="2566"/>
                  <a:pt x="8297" y="2471"/>
                  <a:pt x="8234" y="2407"/>
                </a:cubicBezTo>
                <a:lnTo>
                  <a:pt x="8234" y="2344"/>
                </a:lnTo>
                <a:cubicBezTo>
                  <a:pt x="8361" y="2154"/>
                  <a:pt x="8297" y="1869"/>
                  <a:pt x="8076" y="1742"/>
                </a:cubicBezTo>
                <a:lnTo>
                  <a:pt x="7791" y="1584"/>
                </a:lnTo>
                <a:cubicBezTo>
                  <a:pt x="7721" y="1538"/>
                  <a:pt x="7635" y="1508"/>
                  <a:pt x="7544" y="1508"/>
                </a:cubicBezTo>
                <a:cubicBezTo>
                  <a:pt x="7510" y="1508"/>
                  <a:pt x="7476" y="1512"/>
                  <a:pt x="7442" y="1521"/>
                </a:cubicBezTo>
                <a:cubicBezTo>
                  <a:pt x="7347" y="1552"/>
                  <a:pt x="7252" y="1647"/>
                  <a:pt x="7189" y="1742"/>
                </a:cubicBezTo>
                <a:cubicBezTo>
                  <a:pt x="7189" y="1742"/>
                  <a:pt x="7189" y="1742"/>
                  <a:pt x="7157" y="1774"/>
                </a:cubicBezTo>
                <a:cubicBezTo>
                  <a:pt x="7062" y="1742"/>
                  <a:pt x="6936" y="1711"/>
                  <a:pt x="6809" y="1679"/>
                </a:cubicBezTo>
                <a:lnTo>
                  <a:pt x="6809" y="1647"/>
                </a:lnTo>
                <a:cubicBezTo>
                  <a:pt x="6809" y="1394"/>
                  <a:pt x="6619" y="1204"/>
                  <a:pt x="6366" y="1204"/>
                </a:cubicBezTo>
                <a:close/>
                <a:moveTo>
                  <a:pt x="6207" y="761"/>
                </a:moveTo>
                <a:cubicBezTo>
                  <a:pt x="8519" y="761"/>
                  <a:pt x="10388" y="2629"/>
                  <a:pt x="10388" y="4941"/>
                </a:cubicBezTo>
                <a:lnTo>
                  <a:pt x="10388" y="12763"/>
                </a:lnTo>
                <a:lnTo>
                  <a:pt x="4782" y="12763"/>
                </a:lnTo>
                <a:lnTo>
                  <a:pt x="5637" y="11275"/>
                </a:lnTo>
                <a:cubicBezTo>
                  <a:pt x="5701" y="11148"/>
                  <a:pt x="5701" y="10990"/>
                  <a:pt x="5637" y="10895"/>
                </a:cubicBezTo>
                <a:cubicBezTo>
                  <a:pt x="5574" y="10768"/>
                  <a:pt x="5447" y="10705"/>
                  <a:pt x="5321" y="10705"/>
                </a:cubicBezTo>
                <a:lnTo>
                  <a:pt x="2439" y="10705"/>
                </a:lnTo>
                <a:cubicBezTo>
                  <a:pt x="2059" y="10705"/>
                  <a:pt x="2027" y="10356"/>
                  <a:pt x="2027" y="10198"/>
                </a:cubicBezTo>
                <a:lnTo>
                  <a:pt x="2027" y="8614"/>
                </a:lnTo>
                <a:cubicBezTo>
                  <a:pt x="2027" y="8424"/>
                  <a:pt x="1837" y="8234"/>
                  <a:pt x="1647" y="8234"/>
                </a:cubicBezTo>
                <a:lnTo>
                  <a:pt x="887" y="8234"/>
                </a:lnTo>
                <a:cubicBezTo>
                  <a:pt x="982" y="8108"/>
                  <a:pt x="1109" y="7949"/>
                  <a:pt x="1235" y="7791"/>
                </a:cubicBezTo>
                <a:cubicBezTo>
                  <a:pt x="1774" y="7063"/>
                  <a:pt x="2027" y="6683"/>
                  <a:pt x="2027" y="6366"/>
                </a:cubicBezTo>
                <a:lnTo>
                  <a:pt x="2027" y="4941"/>
                </a:lnTo>
                <a:cubicBezTo>
                  <a:pt x="2027" y="2629"/>
                  <a:pt x="3895" y="761"/>
                  <a:pt x="6207" y="761"/>
                </a:cubicBezTo>
                <a:close/>
                <a:moveTo>
                  <a:pt x="6207" y="0"/>
                </a:moveTo>
                <a:cubicBezTo>
                  <a:pt x="3484" y="0"/>
                  <a:pt x="1267" y="2217"/>
                  <a:pt x="1267" y="4941"/>
                </a:cubicBezTo>
                <a:lnTo>
                  <a:pt x="1267" y="6366"/>
                </a:lnTo>
                <a:cubicBezTo>
                  <a:pt x="1204" y="6524"/>
                  <a:pt x="824" y="7031"/>
                  <a:pt x="602" y="7316"/>
                </a:cubicBezTo>
                <a:cubicBezTo>
                  <a:pt x="412" y="7601"/>
                  <a:pt x="222" y="7854"/>
                  <a:pt x="127" y="8044"/>
                </a:cubicBezTo>
                <a:cubicBezTo>
                  <a:pt x="0" y="8266"/>
                  <a:pt x="0" y="8519"/>
                  <a:pt x="127" y="8709"/>
                </a:cubicBezTo>
                <a:cubicBezTo>
                  <a:pt x="222" y="8899"/>
                  <a:pt x="444" y="8994"/>
                  <a:pt x="665" y="8994"/>
                </a:cubicBezTo>
                <a:lnTo>
                  <a:pt x="1267" y="8994"/>
                </a:lnTo>
                <a:lnTo>
                  <a:pt x="1267" y="10198"/>
                </a:lnTo>
                <a:cubicBezTo>
                  <a:pt x="1267" y="10800"/>
                  <a:pt x="1647" y="11465"/>
                  <a:pt x="2470" y="11465"/>
                </a:cubicBezTo>
                <a:lnTo>
                  <a:pt x="4656" y="11465"/>
                </a:lnTo>
                <a:lnTo>
                  <a:pt x="3800" y="12953"/>
                </a:lnTo>
                <a:cubicBezTo>
                  <a:pt x="3737" y="13080"/>
                  <a:pt x="3737" y="13206"/>
                  <a:pt x="3800" y="13333"/>
                </a:cubicBezTo>
                <a:cubicBezTo>
                  <a:pt x="3864" y="13460"/>
                  <a:pt x="3991" y="13523"/>
                  <a:pt x="4149" y="13523"/>
                </a:cubicBezTo>
                <a:lnTo>
                  <a:pt x="10768" y="13523"/>
                </a:lnTo>
                <a:cubicBezTo>
                  <a:pt x="10989" y="13523"/>
                  <a:pt x="11148" y="13365"/>
                  <a:pt x="11148" y="13143"/>
                </a:cubicBezTo>
                <a:lnTo>
                  <a:pt x="11148" y="4941"/>
                </a:lnTo>
                <a:cubicBezTo>
                  <a:pt x="11148" y="2217"/>
                  <a:pt x="8931" y="0"/>
                  <a:pt x="620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86" name="Google Shape;1286;p34"/>
          <p:cNvSpPr/>
          <p:nvPr/>
        </p:nvSpPr>
        <p:spPr>
          <a:xfrm>
            <a:off x="7204068" y="5219918"/>
            <a:ext cx="569179" cy="571907"/>
          </a:xfrm>
          <a:custGeom>
            <a:avLst/>
            <a:gdLst/>
            <a:ahLst/>
            <a:cxnLst/>
            <a:rect l="l" t="t" r="r" b="b"/>
            <a:pathLst>
              <a:path w="13144" h="13207" extrusionOk="0">
                <a:moveTo>
                  <a:pt x="11211" y="0"/>
                </a:moveTo>
                <a:lnTo>
                  <a:pt x="9628" y="1236"/>
                </a:lnTo>
                <a:cubicBezTo>
                  <a:pt x="9279" y="1172"/>
                  <a:pt x="8899" y="1140"/>
                  <a:pt x="8519" y="1140"/>
                </a:cubicBezTo>
                <a:cubicBezTo>
                  <a:pt x="6746" y="1140"/>
                  <a:pt x="5194" y="1932"/>
                  <a:pt x="4434" y="3104"/>
                </a:cubicBezTo>
                <a:cubicBezTo>
                  <a:pt x="4592" y="3072"/>
                  <a:pt x="4751" y="3072"/>
                  <a:pt x="4941" y="3041"/>
                </a:cubicBezTo>
                <a:cubicBezTo>
                  <a:pt x="5701" y="2122"/>
                  <a:pt x="6999" y="1521"/>
                  <a:pt x="8519" y="1521"/>
                </a:cubicBezTo>
                <a:cubicBezTo>
                  <a:pt x="8899" y="1521"/>
                  <a:pt x="9279" y="1552"/>
                  <a:pt x="9628" y="1647"/>
                </a:cubicBezTo>
                <a:cubicBezTo>
                  <a:pt x="9691" y="1647"/>
                  <a:pt x="9754" y="1616"/>
                  <a:pt x="9786" y="1584"/>
                </a:cubicBezTo>
                <a:lnTo>
                  <a:pt x="10800" y="792"/>
                </a:lnTo>
                <a:lnTo>
                  <a:pt x="10800" y="792"/>
                </a:lnTo>
                <a:lnTo>
                  <a:pt x="10673" y="1837"/>
                </a:lnTo>
                <a:cubicBezTo>
                  <a:pt x="10673" y="1901"/>
                  <a:pt x="10705" y="1996"/>
                  <a:pt x="10768" y="2027"/>
                </a:cubicBezTo>
                <a:cubicBezTo>
                  <a:pt x="12035" y="2629"/>
                  <a:pt x="12763" y="3674"/>
                  <a:pt x="12763" y="4814"/>
                </a:cubicBezTo>
                <a:cubicBezTo>
                  <a:pt x="12763" y="5891"/>
                  <a:pt x="12098" y="6841"/>
                  <a:pt x="11053" y="7443"/>
                </a:cubicBezTo>
                <a:cubicBezTo>
                  <a:pt x="11085" y="7538"/>
                  <a:pt x="11085" y="7633"/>
                  <a:pt x="11085" y="7696"/>
                </a:cubicBezTo>
                <a:cubicBezTo>
                  <a:pt x="11085" y="7759"/>
                  <a:pt x="11085" y="7823"/>
                  <a:pt x="11085" y="7886"/>
                </a:cubicBezTo>
                <a:cubicBezTo>
                  <a:pt x="12320" y="7221"/>
                  <a:pt x="13143" y="6081"/>
                  <a:pt x="13143" y="4814"/>
                </a:cubicBezTo>
                <a:cubicBezTo>
                  <a:pt x="13143" y="3579"/>
                  <a:pt x="12383" y="2439"/>
                  <a:pt x="11053" y="1742"/>
                </a:cubicBezTo>
                <a:lnTo>
                  <a:pt x="11211" y="0"/>
                </a:lnTo>
                <a:close/>
                <a:moveTo>
                  <a:pt x="5352" y="4972"/>
                </a:moveTo>
                <a:cubicBezTo>
                  <a:pt x="4497" y="4972"/>
                  <a:pt x="3801" y="5669"/>
                  <a:pt x="3801" y="6493"/>
                </a:cubicBezTo>
                <a:cubicBezTo>
                  <a:pt x="3801" y="6619"/>
                  <a:pt x="3896" y="6683"/>
                  <a:pt x="3991" y="6683"/>
                </a:cubicBezTo>
                <a:cubicBezTo>
                  <a:pt x="4086" y="6683"/>
                  <a:pt x="4181" y="6619"/>
                  <a:pt x="4181" y="6493"/>
                </a:cubicBezTo>
                <a:cubicBezTo>
                  <a:pt x="4181" y="5859"/>
                  <a:pt x="4687" y="5352"/>
                  <a:pt x="5352" y="5352"/>
                </a:cubicBezTo>
                <a:cubicBezTo>
                  <a:pt x="5986" y="5352"/>
                  <a:pt x="6524" y="5859"/>
                  <a:pt x="6524" y="6493"/>
                </a:cubicBezTo>
                <a:cubicBezTo>
                  <a:pt x="6524" y="6968"/>
                  <a:pt x="6176" y="7253"/>
                  <a:pt x="5828" y="7538"/>
                </a:cubicBezTo>
                <a:cubicBezTo>
                  <a:pt x="5479" y="7854"/>
                  <a:pt x="5131" y="8139"/>
                  <a:pt x="5131" y="8646"/>
                </a:cubicBezTo>
                <a:cubicBezTo>
                  <a:pt x="5131" y="8741"/>
                  <a:pt x="5226" y="8836"/>
                  <a:pt x="5321" y="8836"/>
                </a:cubicBezTo>
                <a:cubicBezTo>
                  <a:pt x="5416" y="8836"/>
                  <a:pt x="5511" y="8741"/>
                  <a:pt x="5511" y="8646"/>
                </a:cubicBezTo>
                <a:cubicBezTo>
                  <a:pt x="5511" y="8329"/>
                  <a:pt x="5764" y="8108"/>
                  <a:pt x="6081" y="7823"/>
                </a:cubicBezTo>
                <a:cubicBezTo>
                  <a:pt x="6461" y="7506"/>
                  <a:pt x="6904" y="7158"/>
                  <a:pt x="6904" y="6493"/>
                </a:cubicBezTo>
                <a:cubicBezTo>
                  <a:pt x="6904" y="5669"/>
                  <a:pt x="6208" y="4972"/>
                  <a:pt x="5352" y="4972"/>
                </a:cubicBezTo>
                <a:close/>
                <a:moveTo>
                  <a:pt x="5321" y="9501"/>
                </a:moveTo>
                <a:cubicBezTo>
                  <a:pt x="5099" y="9501"/>
                  <a:pt x="4909" y="9691"/>
                  <a:pt x="4909" y="9913"/>
                </a:cubicBezTo>
                <a:cubicBezTo>
                  <a:pt x="4909" y="10134"/>
                  <a:pt x="5099" y="10324"/>
                  <a:pt x="5321" y="10324"/>
                </a:cubicBezTo>
                <a:cubicBezTo>
                  <a:pt x="5543" y="10324"/>
                  <a:pt x="5733" y="10134"/>
                  <a:pt x="5733" y="9913"/>
                </a:cubicBezTo>
                <a:cubicBezTo>
                  <a:pt x="5733" y="9691"/>
                  <a:pt x="5543" y="9501"/>
                  <a:pt x="5321" y="9501"/>
                </a:cubicBezTo>
                <a:close/>
                <a:moveTo>
                  <a:pt x="5352" y="4181"/>
                </a:moveTo>
                <a:cubicBezTo>
                  <a:pt x="7886" y="4181"/>
                  <a:pt x="9945" y="5764"/>
                  <a:pt x="9945" y="7696"/>
                </a:cubicBezTo>
                <a:cubicBezTo>
                  <a:pt x="9945" y="9659"/>
                  <a:pt x="7886" y="11243"/>
                  <a:pt x="5352" y="11243"/>
                </a:cubicBezTo>
                <a:cubicBezTo>
                  <a:pt x="4941" y="11243"/>
                  <a:pt x="4529" y="11180"/>
                  <a:pt x="4117" y="11116"/>
                </a:cubicBezTo>
                <a:cubicBezTo>
                  <a:pt x="4092" y="11108"/>
                  <a:pt x="4064" y="11104"/>
                  <a:pt x="4035" y="11104"/>
                </a:cubicBezTo>
                <a:cubicBezTo>
                  <a:pt x="3957" y="11104"/>
                  <a:pt x="3870" y="11133"/>
                  <a:pt x="3801" y="11180"/>
                </a:cubicBezTo>
                <a:lnTo>
                  <a:pt x="3009" y="11813"/>
                </a:lnTo>
                <a:lnTo>
                  <a:pt x="3104" y="11085"/>
                </a:lnTo>
                <a:cubicBezTo>
                  <a:pt x="3136" y="10926"/>
                  <a:pt x="3041" y="10768"/>
                  <a:pt x="2882" y="10705"/>
                </a:cubicBezTo>
                <a:cubicBezTo>
                  <a:pt x="1552" y="10039"/>
                  <a:pt x="760" y="8931"/>
                  <a:pt x="760" y="7696"/>
                </a:cubicBezTo>
                <a:cubicBezTo>
                  <a:pt x="760" y="5764"/>
                  <a:pt x="2819" y="4181"/>
                  <a:pt x="5352" y="4181"/>
                </a:cubicBezTo>
                <a:close/>
                <a:moveTo>
                  <a:pt x="5352" y="3421"/>
                </a:moveTo>
                <a:cubicBezTo>
                  <a:pt x="2376" y="3421"/>
                  <a:pt x="0" y="5352"/>
                  <a:pt x="0" y="7696"/>
                </a:cubicBezTo>
                <a:cubicBezTo>
                  <a:pt x="0" y="9153"/>
                  <a:pt x="855" y="10451"/>
                  <a:pt x="2312" y="11243"/>
                </a:cubicBezTo>
                <a:lnTo>
                  <a:pt x="2249" y="13206"/>
                </a:lnTo>
                <a:lnTo>
                  <a:pt x="4149" y="11876"/>
                </a:lnTo>
                <a:cubicBezTo>
                  <a:pt x="4529" y="11971"/>
                  <a:pt x="4941" y="12003"/>
                  <a:pt x="5352" y="12003"/>
                </a:cubicBezTo>
                <a:cubicBezTo>
                  <a:pt x="8298" y="12003"/>
                  <a:pt x="10705" y="10071"/>
                  <a:pt x="10705" y="7696"/>
                </a:cubicBezTo>
                <a:cubicBezTo>
                  <a:pt x="10705" y="5352"/>
                  <a:pt x="8298" y="3421"/>
                  <a:pt x="5352" y="342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287" name="Google Shape;1287;p34"/>
          <p:cNvSpPr/>
          <p:nvPr/>
        </p:nvSpPr>
        <p:spPr>
          <a:xfrm>
            <a:off x="5359563" y="2846072"/>
            <a:ext cx="544496" cy="574635"/>
          </a:xfrm>
          <a:custGeom>
            <a:avLst/>
            <a:gdLst/>
            <a:ahLst/>
            <a:cxnLst/>
            <a:rect l="l" t="t" r="r" b="b"/>
            <a:pathLst>
              <a:path w="12574" h="13270" extrusionOk="0">
                <a:moveTo>
                  <a:pt x="6081" y="381"/>
                </a:moveTo>
                <a:cubicBezTo>
                  <a:pt x="6841" y="381"/>
                  <a:pt x="7443" y="982"/>
                  <a:pt x="7443" y="1742"/>
                </a:cubicBezTo>
                <a:cubicBezTo>
                  <a:pt x="7443" y="2502"/>
                  <a:pt x="6841" y="3104"/>
                  <a:pt x="6081" y="3104"/>
                </a:cubicBezTo>
                <a:cubicBezTo>
                  <a:pt x="5891" y="3104"/>
                  <a:pt x="5669" y="3072"/>
                  <a:pt x="5479" y="2977"/>
                </a:cubicBezTo>
                <a:lnTo>
                  <a:pt x="5448" y="2946"/>
                </a:lnTo>
                <a:cubicBezTo>
                  <a:pt x="5004" y="2724"/>
                  <a:pt x="4719" y="2249"/>
                  <a:pt x="4719" y="1742"/>
                </a:cubicBezTo>
                <a:cubicBezTo>
                  <a:pt x="4719" y="982"/>
                  <a:pt x="5353" y="381"/>
                  <a:pt x="6081" y="381"/>
                </a:cubicBezTo>
                <a:close/>
                <a:moveTo>
                  <a:pt x="4175" y="3289"/>
                </a:moveTo>
                <a:cubicBezTo>
                  <a:pt x="4250" y="3289"/>
                  <a:pt x="4326" y="3291"/>
                  <a:pt x="4403" y="3294"/>
                </a:cubicBezTo>
                <a:cubicBezTo>
                  <a:pt x="4403" y="3326"/>
                  <a:pt x="4403" y="3326"/>
                  <a:pt x="4403" y="3326"/>
                </a:cubicBezTo>
                <a:lnTo>
                  <a:pt x="4086" y="4054"/>
                </a:lnTo>
                <a:cubicBezTo>
                  <a:pt x="2661" y="4086"/>
                  <a:pt x="1742" y="4846"/>
                  <a:pt x="1172" y="5416"/>
                </a:cubicBezTo>
                <a:cubicBezTo>
                  <a:pt x="1109" y="5479"/>
                  <a:pt x="1014" y="5543"/>
                  <a:pt x="919" y="5543"/>
                </a:cubicBezTo>
                <a:cubicBezTo>
                  <a:pt x="792" y="5543"/>
                  <a:pt x="697" y="5479"/>
                  <a:pt x="634" y="5416"/>
                </a:cubicBezTo>
                <a:cubicBezTo>
                  <a:pt x="571" y="5353"/>
                  <a:pt x="539" y="5258"/>
                  <a:pt x="539" y="5163"/>
                </a:cubicBezTo>
                <a:cubicBezTo>
                  <a:pt x="539" y="5036"/>
                  <a:pt x="571" y="4941"/>
                  <a:pt x="634" y="4878"/>
                </a:cubicBezTo>
                <a:cubicBezTo>
                  <a:pt x="1030" y="4451"/>
                  <a:pt x="2220" y="3289"/>
                  <a:pt x="4175" y="3289"/>
                </a:cubicBezTo>
                <a:close/>
                <a:moveTo>
                  <a:pt x="5103" y="3239"/>
                </a:moveTo>
                <a:cubicBezTo>
                  <a:pt x="5155" y="3239"/>
                  <a:pt x="5210" y="3247"/>
                  <a:pt x="5258" y="3262"/>
                </a:cubicBezTo>
                <a:cubicBezTo>
                  <a:pt x="5258" y="3294"/>
                  <a:pt x="5258" y="3294"/>
                  <a:pt x="5258" y="3294"/>
                </a:cubicBezTo>
                <a:lnTo>
                  <a:pt x="5289" y="3294"/>
                </a:lnTo>
                <a:cubicBezTo>
                  <a:pt x="5824" y="3638"/>
                  <a:pt x="6809" y="4040"/>
                  <a:pt x="7861" y="4040"/>
                </a:cubicBezTo>
                <a:cubicBezTo>
                  <a:pt x="8552" y="4040"/>
                  <a:pt x="9272" y="3866"/>
                  <a:pt x="9913" y="3389"/>
                </a:cubicBezTo>
                <a:cubicBezTo>
                  <a:pt x="9982" y="3343"/>
                  <a:pt x="10052" y="3313"/>
                  <a:pt x="10122" y="3313"/>
                </a:cubicBezTo>
                <a:cubicBezTo>
                  <a:pt x="10147" y="3313"/>
                  <a:pt x="10173" y="3317"/>
                  <a:pt x="10198" y="3326"/>
                </a:cubicBezTo>
                <a:cubicBezTo>
                  <a:pt x="10293" y="3326"/>
                  <a:pt x="10388" y="3389"/>
                  <a:pt x="10451" y="3484"/>
                </a:cubicBezTo>
                <a:cubicBezTo>
                  <a:pt x="10578" y="3642"/>
                  <a:pt x="10546" y="3896"/>
                  <a:pt x="10356" y="3991"/>
                </a:cubicBezTo>
                <a:cubicBezTo>
                  <a:pt x="9529" y="4607"/>
                  <a:pt x="8634" y="4792"/>
                  <a:pt x="7850" y="4792"/>
                </a:cubicBezTo>
                <a:cubicBezTo>
                  <a:pt x="7222" y="4792"/>
                  <a:pt x="6665" y="4673"/>
                  <a:pt x="6271" y="4561"/>
                </a:cubicBezTo>
                <a:lnTo>
                  <a:pt x="6113" y="4498"/>
                </a:lnTo>
                <a:lnTo>
                  <a:pt x="6049" y="4656"/>
                </a:lnTo>
                <a:lnTo>
                  <a:pt x="4783" y="7569"/>
                </a:lnTo>
                <a:lnTo>
                  <a:pt x="4719" y="7696"/>
                </a:lnTo>
                <a:lnTo>
                  <a:pt x="4814" y="7759"/>
                </a:lnTo>
                <a:cubicBezTo>
                  <a:pt x="5859" y="8741"/>
                  <a:pt x="6398" y="9691"/>
                  <a:pt x="6524" y="10673"/>
                </a:cubicBezTo>
                <a:cubicBezTo>
                  <a:pt x="6524" y="10895"/>
                  <a:pt x="6366" y="11085"/>
                  <a:pt x="6176" y="11116"/>
                </a:cubicBezTo>
                <a:cubicBezTo>
                  <a:pt x="5954" y="11116"/>
                  <a:pt x="5764" y="10958"/>
                  <a:pt x="5764" y="10768"/>
                </a:cubicBezTo>
                <a:cubicBezTo>
                  <a:pt x="5669" y="9881"/>
                  <a:pt x="5099" y="8995"/>
                  <a:pt x="3991" y="8044"/>
                </a:cubicBezTo>
                <a:lnTo>
                  <a:pt x="3769" y="7854"/>
                </a:lnTo>
                <a:lnTo>
                  <a:pt x="3674" y="8139"/>
                </a:lnTo>
                <a:cubicBezTo>
                  <a:pt x="3104" y="9945"/>
                  <a:pt x="2059" y="11180"/>
                  <a:pt x="1014" y="12225"/>
                </a:cubicBezTo>
                <a:cubicBezTo>
                  <a:pt x="951" y="12288"/>
                  <a:pt x="856" y="12320"/>
                  <a:pt x="761" y="12320"/>
                </a:cubicBezTo>
                <a:cubicBezTo>
                  <a:pt x="634" y="12320"/>
                  <a:pt x="539" y="12288"/>
                  <a:pt x="476" y="12225"/>
                </a:cubicBezTo>
                <a:cubicBezTo>
                  <a:pt x="412" y="12161"/>
                  <a:pt x="381" y="12066"/>
                  <a:pt x="381" y="11940"/>
                </a:cubicBezTo>
                <a:cubicBezTo>
                  <a:pt x="381" y="11845"/>
                  <a:pt x="412" y="11750"/>
                  <a:pt x="476" y="11686"/>
                </a:cubicBezTo>
                <a:cubicBezTo>
                  <a:pt x="1806" y="10356"/>
                  <a:pt x="2756" y="9090"/>
                  <a:pt x="3167" y="7126"/>
                </a:cubicBezTo>
                <a:cubicBezTo>
                  <a:pt x="3167" y="7094"/>
                  <a:pt x="3167" y="7063"/>
                  <a:pt x="3167" y="7063"/>
                </a:cubicBezTo>
                <a:lnTo>
                  <a:pt x="4751" y="3484"/>
                </a:lnTo>
                <a:cubicBezTo>
                  <a:pt x="4783" y="3389"/>
                  <a:pt x="4878" y="3294"/>
                  <a:pt x="4973" y="3262"/>
                </a:cubicBezTo>
                <a:cubicBezTo>
                  <a:pt x="5004" y="3247"/>
                  <a:pt x="5052" y="3239"/>
                  <a:pt x="5103" y="3239"/>
                </a:cubicBezTo>
                <a:close/>
                <a:moveTo>
                  <a:pt x="6081" y="1"/>
                </a:moveTo>
                <a:cubicBezTo>
                  <a:pt x="5131" y="1"/>
                  <a:pt x="4339" y="792"/>
                  <a:pt x="4339" y="1742"/>
                </a:cubicBezTo>
                <a:cubicBezTo>
                  <a:pt x="4339" y="2217"/>
                  <a:pt x="4498" y="2629"/>
                  <a:pt x="4783" y="2946"/>
                </a:cubicBezTo>
                <a:lnTo>
                  <a:pt x="4751" y="2946"/>
                </a:lnTo>
                <a:cubicBezTo>
                  <a:pt x="4556" y="2926"/>
                  <a:pt x="4367" y="2916"/>
                  <a:pt x="4185" y="2916"/>
                </a:cubicBezTo>
                <a:cubicBezTo>
                  <a:pt x="2057" y="2916"/>
                  <a:pt x="786" y="4187"/>
                  <a:pt x="349" y="4624"/>
                </a:cubicBezTo>
                <a:cubicBezTo>
                  <a:pt x="222" y="4751"/>
                  <a:pt x="127" y="4941"/>
                  <a:pt x="127" y="5163"/>
                </a:cubicBezTo>
                <a:cubicBezTo>
                  <a:pt x="127" y="5353"/>
                  <a:pt x="222" y="5543"/>
                  <a:pt x="349" y="5701"/>
                </a:cubicBezTo>
                <a:cubicBezTo>
                  <a:pt x="507" y="5828"/>
                  <a:pt x="697" y="5923"/>
                  <a:pt x="887" y="5923"/>
                </a:cubicBezTo>
                <a:cubicBezTo>
                  <a:pt x="1109" y="5923"/>
                  <a:pt x="1299" y="5828"/>
                  <a:pt x="1426" y="5701"/>
                </a:cubicBezTo>
                <a:cubicBezTo>
                  <a:pt x="1932" y="5194"/>
                  <a:pt x="2724" y="4529"/>
                  <a:pt x="3896" y="4466"/>
                </a:cubicBezTo>
                <a:lnTo>
                  <a:pt x="3896" y="4466"/>
                </a:lnTo>
                <a:lnTo>
                  <a:pt x="2819" y="6904"/>
                </a:lnTo>
                <a:cubicBezTo>
                  <a:pt x="2819" y="6968"/>
                  <a:pt x="2787" y="6999"/>
                  <a:pt x="2787" y="7063"/>
                </a:cubicBezTo>
                <a:cubicBezTo>
                  <a:pt x="2407" y="8931"/>
                  <a:pt x="1457" y="10166"/>
                  <a:pt x="222" y="11433"/>
                </a:cubicBezTo>
                <a:cubicBezTo>
                  <a:pt x="64" y="11560"/>
                  <a:pt x="1" y="11750"/>
                  <a:pt x="1" y="11971"/>
                </a:cubicBezTo>
                <a:cubicBezTo>
                  <a:pt x="1" y="12161"/>
                  <a:pt x="64" y="12351"/>
                  <a:pt x="222" y="12510"/>
                </a:cubicBezTo>
                <a:cubicBezTo>
                  <a:pt x="349" y="12636"/>
                  <a:pt x="539" y="12731"/>
                  <a:pt x="761" y="12731"/>
                </a:cubicBezTo>
                <a:cubicBezTo>
                  <a:pt x="951" y="12731"/>
                  <a:pt x="1141" y="12636"/>
                  <a:pt x="1299" y="12510"/>
                </a:cubicBezTo>
                <a:cubicBezTo>
                  <a:pt x="2312" y="11465"/>
                  <a:pt x="3326" y="10293"/>
                  <a:pt x="3959" y="8551"/>
                </a:cubicBezTo>
                <a:cubicBezTo>
                  <a:pt x="4814" y="9343"/>
                  <a:pt x="5289" y="10071"/>
                  <a:pt x="5384" y="10831"/>
                </a:cubicBezTo>
                <a:cubicBezTo>
                  <a:pt x="5414" y="11222"/>
                  <a:pt x="5758" y="11499"/>
                  <a:pt x="6145" y="11499"/>
                </a:cubicBezTo>
                <a:cubicBezTo>
                  <a:pt x="6166" y="11499"/>
                  <a:pt x="6187" y="11498"/>
                  <a:pt x="6208" y="11496"/>
                </a:cubicBezTo>
                <a:cubicBezTo>
                  <a:pt x="6619" y="11433"/>
                  <a:pt x="6936" y="11053"/>
                  <a:pt x="6904" y="10641"/>
                </a:cubicBezTo>
                <a:cubicBezTo>
                  <a:pt x="6778" y="9596"/>
                  <a:pt x="6208" y="8583"/>
                  <a:pt x="5194" y="7601"/>
                </a:cubicBezTo>
                <a:lnTo>
                  <a:pt x="6334" y="4973"/>
                </a:lnTo>
                <a:cubicBezTo>
                  <a:pt x="6740" y="5077"/>
                  <a:pt x="7270" y="5177"/>
                  <a:pt x="7862" y="5177"/>
                </a:cubicBezTo>
                <a:cubicBezTo>
                  <a:pt x="8703" y="5177"/>
                  <a:pt x="9668" y="4976"/>
                  <a:pt x="10578" y="4308"/>
                </a:cubicBezTo>
                <a:cubicBezTo>
                  <a:pt x="10768" y="4213"/>
                  <a:pt x="10863" y="4023"/>
                  <a:pt x="10895" y="3833"/>
                </a:cubicBezTo>
                <a:cubicBezTo>
                  <a:pt x="10926" y="3611"/>
                  <a:pt x="10863" y="3421"/>
                  <a:pt x="10768" y="3262"/>
                </a:cubicBezTo>
                <a:cubicBezTo>
                  <a:pt x="10613" y="3050"/>
                  <a:pt x="10376" y="2943"/>
                  <a:pt x="10135" y="2943"/>
                </a:cubicBezTo>
                <a:cubicBezTo>
                  <a:pt x="9981" y="2943"/>
                  <a:pt x="9827" y="2986"/>
                  <a:pt x="9691" y="3072"/>
                </a:cubicBezTo>
                <a:cubicBezTo>
                  <a:pt x="9112" y="3507"/>
                  <a:pt x="8461" y="3662"/>
                  <a:pt x="7837" y="3662"/>
                </a:cubicBezTo>
                <a:cubicBezTo>
                  <a:pt x="7370" y="3662"/>
                  <a:pt x="6918" y="3575"/>
                  <a:pt x="6524" y="3452"/>
                </a:cubicBezTo>
                <a:cubicBezTo>
                  <a:pt x="7284" y="3262"/>
                  <a:pt x="7823" y="2566"/>
                  <a:pt x="7823" y="1742"/>
                </a:cubicBezTo>
                <a:cubicBezTo>
                  <a:pt x="7823" y="792"/>
                  <a:pt x="7031" y="1"/>
                  <a:pt x="6081" y="1"/>
                </a:cubicBezTo>
                <a:close/>
                <a:moveTo>
                  <a:pt x="9786" y="6999"/>
                </a:moveTo>
                <a:lnTo>
                  <a:pt x="9786" y="9438"/>
                </a:lnTo>
                <a:lnTo>
                  <a:pt x="7348" y="9438"/>
                </a:lnTo>
                <a:lnTo>
                  <a:pt x="7348" y="11876"/>
                </a:lnTo>
                <a:lnTo>
                  <a:pt x="4909" y="11876"/>
                </a:lnTo>
                <a:lnTo>
                  <a:pt x="4909" y="13270"/>
                </a:lnTo>
                <a:lnTo>
                  <a:pt x="5669" y="13270"/>
                </a:lnTo>
                <a:lnTo>
                  <a:pt x="5669" y="12636"/>
                </a:lnTo>
                <a:lnTo>
                  <a:pt x="8108" y="12636"/>
                </a:lnTo>
                <a:lnTo>
                  <a:pt x="8108" y="10198"/>
                </a:lnTo>
                <a:lnTo>
                  <a:pt x="10546" y="10198"/>
                </a:lnTo>
                <a:lnTo>
                  <a:pt x="10546" y="7759"/>
                </a:lnTo>
                <a:lnTo>
                  <a:pt x="12573" y="7759"/>
                </a:lnTo>
                <a:lnTo>
                  <a:pt x="12573" y="699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76CDD11-C9D5-49B1-9911-E3CA80226BAC}"/>
              </a:ext>
            </a:extLst>
          </p:cNvPr>
          <p:cNvSpPr txBox="1"/>
          <p:nvPr/>
        </p:nvSpPr>
        <p:spPr>
          <a:xfrm>
            <a:off x="8827770" y="1497165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3D63AB9-7410-4400-8ACE-FA357B32492E}"/>
              </a:ext>
            </a:extLst>
          </p:cNvPr>
          <p:cNvSpPr txBox="1"/>
          <p:nvPr/>
        </p:nvSpPr>
        <p:spPr>
          <a:xfrm>
            <a:off x="8860006" y="2827871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562F031-541C-44D3-B80F-49BF85138AE0}"/>
              </a:ext>
            </a:extLst>
          </p:cNvPr>
          <p:cNvSpPr txBox="1"/>
          <p:nvPr/>
        </p:nvSpPr>
        <p:spPr>
          <a:xfrm>
            <a:off x="1304479" y="3821132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868FCDF-CF12-4AA3-AC53-79180B63800E}"/>
              </a:ext>
            </a:extLst>
          </p:cNvPr>
          <p:cNvSpPr txBox="1"/>
          <p:nvPr/>
        </p:nvSpPr>
        <p:spPr>
          <a:xfrm>
            <a:off x="1304479" y="5007341"/>
            <a:ext cx="2216063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6" name="Google Shape;1496;p40">
            <a:extLst>
              <a:ext uri="{FF2B5EF4-FFF2-40B4-BE49-F238E27FC236}">
                <a16:creationId xmlns:a16="http://schemas.microsoft.com/office/drawing/2014/main" id="{38D0F9C4-A97E-4FC0-9D2C-7086A30C8BB3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59386BC4-6FBF-4543-82B7-4FD1180DD74E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2" name="Google Shape;1472;p40"/>
          <p:cNvSpPr/>
          <p:nvPr/>
        </p:nvSpPr>
        <p:spPr>
          <a:xfrm>
            <a:off x="7530767" y="956530"/>
            <a:ext cx="4051620" cy="4884389"/>
          </a:xfrm>
          <a:custGeom>
            <a:avLst/>
            <a:gdLst/>
            <a:ahLst/>
            <a:cxnLst/>
            <a:rect l="l" t="t" r="r" b="b"/>
            <a:pathLst>
              <a:path w="94945" h="114460" extrusionOk="0">
                <a:moveTo>
                  <a:pt x="51957" y="0"/>
                </a:moveTo>
                <a:cubicBezTo>
                  <a:pt x="47089" y="0"/>
                  <a:pt x="42259" y="749"/>
                  <a:pt x="37655" y="2035"/>
                </a:cubicBezTo>
                <a:cubicBezTo>
                  <a:pt x="37370" y="2098"/>
                  <a:pt x="37085" y="2193"/>
                  <a:pt x="36768" y="2288"/>
                </a:cubicBezTo>
                <a:cubicBezTo>
                  <a:pt x="31575" y="3808"/>
                  <a:pt x="26824" y="6310"/>
                  <a:pt x="22517" y="9255"/>
                </a:cubicBezTo>
                <a:lnTo>
                  <a:pt x="20934" y="10395"/>
                </a:lnTo>
                <a:cubicBezTo>
                  <a:pt x="20396" y="10775"/>
                  <a:pt x="19857" y="11155"/>
                  <a:pt x="19382" y="11599"/>
                </a:cubicBezTo>
                <a:cubicBezTo>
                  <a:pt x="18400" y="12454"/>
                  <a:pt x="17419" y="13277"/>
                  <a:pt x="16469" y="14132"/>
                </a:cubicBezTo>
                <a:cubicBezTo>
                  <a:pt x="15519" y="15019"/>
                  <a:pt x="14663" y="15969"/>
                  <a:pt x="13777" y="16888"/>
                </a:cubicBezTo>
                <a:cubicBezTo>
                  <a:pt x="13365" y="17331"/>
                  <a:pt x="12890" y="17806"/>
                  <a:pt x="12510" y="18281"/>
                </a:cubicBezTo>
                <a:lnTo>
                  <a:pt x="11338" y="19769"/>
                </a:lnTo>
                <a:lnTo>
                  <a:pt x="10166" y="21258"/>
                </a:lnTo>
                <a:lnTo>
                  <a:pt x="9596" y="22018"/>
                </a:lnTo>
                <a:lnTo>
                  <a:pt x="9090" y="22778"/>
                </a:lnTo>
                <a:cubicBezTo>
                  <a:pt x="8425" y="23855"/>
                  <a:pt x="7760" y="24900"/>
                  <a:pt x="7095" y="25945"/>
                </a:cubicBezTo>
                <a:cubicBezTo>
                  <a:pt x="6461" y="26990"/>
                  <a:pt x="5954" y="28130"/>
                  <a:pt x="5384" y="29207"/>
                </a:cubicBezTo>
                <a:cubicBezTo>
                  <a:pt x="5099" y="29745"/>
                  <a:pt x="4846" y="30283"/>
                  <a:pt x="4561" y="30853"/>
                </a:cubicBezTo>
                <a:cubicBezTo>
                  <a:pt x="4339" y="31392"/>
                  <a:pt x="4118" y="31962"/>
                  <a:pt x="3896" y="32532"/>
                </a:cubicBezTo>
                <a:cubicBezTo>
                  <a:pt x="3453" y="33640"/>
                  <a:pt x="3009" y="34780"/>
                  <a:pt x="2629" y="35921"/>
                </a:cubicBezTo>
                <a:cubicBezTo>
                  <a:pt x="2313" y="37061"/>
                  <a:pt x="1996" y="38201"/>
                  <a:pt x="1647" y="39341"/>
                </a:cubicBezTo>
                <a:cubicBezTo>
                  <a:pt x="1521" y="39879"/>
                  <a:pt x="1331" y="40449"/>
                  <a:pt x="1236" y="41019"/>
                </a:cubicBezTo>
                <a:cubicBezTo>
                  <a:pt x="1109" y="41589"/>
                  <a:pt x="1014" y="42159"/>
                  <a:pt x="919" y="42761"/>
                </a:cubicBezTo>
                <a:cubicBezTo>
                  <a:pt x="729" y="43901"/>
                  <a:pt x="539" y="45041"/>
                  <a:pt x="349" y="46150"/>
                </a:cubicBezTo>
                <a:cubicBezTo>
                  <a:pt x="286" y="47290"/>
                  <a:pt x="191" y="48398"/>
                  <a:pt x="127" y="49538"/>
                </a:cubicBezTo>
                <a:cubicBezTo>
                  <a:pt x="64" y="50298"/>
                  <a:pt x="32" y="51058"/>
                  <a:pt x="1" y="51787"/>
                </a:cubicBezTo>
                <a:cubicBezTo>
                  <a:pt x="1" y="52135"/>
                  <a:pt x="32" y="52483"/>
                  <a:pt x="32" y="52800"/>
                </a:cubicBezTo>
                <a:cubicBezTo>
                  <a:pt x="64" y="53845"/>
                  <a:pt x="127" y="54890"/>
                  <a:pt x="159" y="55935"/>
                </a:cubicBezTo>
                <a:cubicBezTo>
                  <a:pt x="222" y="56949"/>
                  <a:pt x="191" y="57962"/>
                  <a:pt x="381" y="58975"/>
                </a:cubicBezTo>
                <a:cubicBezTo>
                  <a:pt x="634" y="61002"/>
                  <a:pt x="887" y="62966"/>
                  <a:pt x="1267" y="64898"/>
                </a:cubicBezTo>
                <a:cubicBezTo>
                  <a:pt x="1711" y="66798"/>
                  <a:pt x="2186" y="68634"/>
                  <a:pt x="2661" y="70440"/>
                </a:cubicBezTo>
                <a:cubicBezTo>
                  <a:pt x="3231" y="72213"/>
                  <a:pt x="3864" y="73955"/>
                  <a:pt x="4498" y="75633"/>
                </a:cubicBezTo>
                <a:cubicBezTo>
                  <a:pt x="4751" y="76457"/>
                  <a:pt x="5194" y="77248"/>
                  <a:pt x="5543" y="78040"/>
                </a:cubicBezTo>
                <a:cubicBezTo>
                  <a:pt x="5923" y="78832"/>
                  <a:pt x="6303" y="79592"/>
                  <a:pt x="6651" y="80352"/>
                </a:cubicBezTo>
                <a:cubicBezTo>
                  <a:pt x="9723" y="86369"/>
                  <a:pt x="13682" y="91816"/>
                  <a:pt x="18337" y="96471"/>
                </a:cubicBezTo>
                <a:cubicBezTo>
                  <a:pt x="20554" y="98657"/>
                  <a:pt x="22897" y="100652"/>
                  <a:pt x="25336" y="102457"/>
                </a:cubicBezTo>
                <a:cubicBezTo>
                  <a:pt x="28091" y="104452"/>
                  <a:pt x="30973" y="106257"/>
                  <a:pt x="33950" y="107809"/>
                </a:cubicBezTo>
                <a:cubicBezTo>
                  <a:pt x="39587" y="110722"/>
                  <a:pt x="45604" y="112559"/>
                  <a:pt x="51590" y="113668"/>
                </a:cubicBezTo>
                <a:cubicBezTo>
                  <a:pt x="53110" y="113858"/>
                  <a:pt x="54598" y="114048"/>
                  <a:pt x="56087" y="114238"/>
                </a:cubicBezTo>
                <a:lnTo>
                  <a:pt x="57195" y="114396"/>
                </a:lnTo>
                <a:lnTo>
                  <a:pt x="58303" y="114428"/>
                </a:lnTo>
                <a:cubicBezTo>
                  <a:pt x="58778" y="114428"/>
                  <a:pt x="59222" y="114459"/>
                  <a:pt x="59665" y="114459"/>
                </a:cubicBezTo>
                <a:lnTo>
                  <a:pt x="59665" y="84627"/>
                </a:lnTo>
                <a:cubicBezTo>
                  <a:pt x="50893" y="84627"/>
                  <a:pt x="44306" y="81967"/>
                  <a:pt x="39429" y="78420"/>
                </a:cubicBezTo>
                <a:cubicBezTo>
                  <a:pt x="29643" y="71326"/>
                  <a:pt x="26666" y="60654"/>
                  <a:pt x="26666" y="60654"/>
                </a:cubicBezTo>
                <a:lnTo>
                  <a:pt x="26634" y="60686"/>
                </a:lnTo>
                <a:cubicBezTo>
                  <a:pt x="26539" y="60306"/>
                  <a:pt x="26444" y="59957"/>
                  <a:pt x="26349" y="59546"/>
                </a:cubicBezTo>
                <a:cubicBezTo>
                  <a:pt x="26096" y="58405"/>
                  <a:pt x="25938" y="57234"/>
                  <a:pt x="25716" y="56030"/>
                </a:cubicBezTo>
                <a:cubicBezTo>
                  <a:pt x="25558" y="55460"/>
                  <a:pt x="25589" y="54827"/>
                  <a:pt x="25526" y="54193"/>
                </a:cubicBezTo>
                <a:cubicBezTo>
                  <a:pt x="25494" y="53592"/>
                  <a:pt x="25431" y="52958"/>
                  <a:pt x="25399" y="52325"/>
                </a:cubicBezTo>
                <a:cubicBezTo>
                  <a:pt x="25304" y="51660"/>
                  <a:pt x="25336" y="51090"/>
                  <a:pt x="25368" y="50488"/>
                </a:cubicBezTo>
                <a:cubicBezTo>
                  <a:pt x="25368" y="50330"/>
                  <a:pt x="25368" y="50140"/>
                  <a:pt x="25368" y="49950"/>
                </a:cubicBezTo>
                <a:lnTo>
                  <a:pt x="25368" y="49886"/>
                </a:lnTo>
                <a:cubicBezTo>
                  <a:pt x="25368" y="49475"/>
                  <a:pt x="25368" y="49095"/>
                  <a:pt x="25368" y="48683"/>
                </a:cubicBezTo>
                <a:cubicBezTo>
                  <a:pt x="25463" y="48113"/>
                  <a:pt x="25558" y="47511"/>
                  <a:pt x="25621" y="46878"/>
                </a:cubicBezTo>
                <a:lnTo>
                  <a:pt x="25716" y="45960"/>
                </a:lnTo>
                <a:cubicBezTo>
                  <a:pt x="25779" y="45675"/>
                  <a:pt x="25874" y="45358"/>
                  <a:pt x="25938" y="45073"/>
                </a:cubicBezTo>
                <a:cubicBezTo>
                  <a:pt x="26064" y="44471"/>
                  <a:pt x="26191" y="43838"/>
                  <a:pt x="26318" y="43236"/>
                </a:cubicBezTo>
                <a:cubicBezTo>
                  <a:pt x="26539" y="42634"/>
                  <a:pt x="26729" y="42001"/>
                  <a:pt x="26919" y="41399"/>
                </a:cubicBezTo>
                <a:cubicBezTo>
                  <a:pt x="27046" y="41114"/>
                  <a:pt x="27109" y="40798"/>
                  <a:pt x="27236" y="40481"/>
                </a:cubicBezTo>
                <a:lnTo>
                  <a:pt x="27648" y="39594"/>
                </a:lnTo>
                <a:cubicBezTo>
                  <a:pt x="27901" y="38992"/>
                  <a:pt x="28123" y="38359"/>
                  <a:pt x="28439" y="37789"/>
                </a:cubicBezTo>
                <a:cubicBezTo>
                  <a:pt x="28788" y="37219"/>
                  <a:pt x="29105" y="36617"/>
                  <a:pt x="29421" y="36016"/>
                </a:cubicBezTo>
                <a:lnTo>
                  <a:pt x="29675" y="35572"/>
                </a:lnTo>
                <a:lnTo>
                  <a:pt x="29960" y="35160"/>
                </a:lnTo>
                <a:lnTo>
                  <a:pt x="30561" y="34337"/>
                </a:lnTo>
                <a:lnTo>
                  <a:pt x="31131" y="33482"/>
                </a:lnTo>
                <a:cubicBezTo>
                  <a:pt x="31321" y="33165"/>
                  <a:pt x="31575" y="32944"/>
                  <a:pt x="31796" y="32659"/>
                </a:cubicBezTo>
                <a:cubicBezTo>
                  <a:pt x="32271" y="32120"/>
                  <a:pt x="32683" y="31582"/>
                  <a:pt x="33158" y="31044"/>
                </a:cubicBezTo>
                <a:cubicBezTo>
                  <a:pt x="33665" y="30568"/>
                  <a:pt x="34172" y="30062"/>
                  <a:pt x="34678" y="29555"/>
                </a:cubicBezTo>
                <a:cubicBezTo>
                  <a:pt x="34932" y="29270"/>
                  <a:pt x="35217" y="29080"/>
                  <a:pt x="35502" y="28858"/>
                </a:cubicBezTo>
                <a:lnTo>
                  <a:pt x="36325" y="28162"/>
                </a:lnTo>
                <a:cubicBezTo>
                  <a:pt x="39302" y="25755"/>
                  <a:pt x="42881" y="23886"/>
                  <a:pt x="46808" y="22810"/>
                </a:cubicBezTo>
                <a:lnTo>
                  <a:pt x="46839" y="22810"/>
                </a:lnTo>
                <a:cubicBezTo>
                  <a:pt x="48834" y="22271"/>
                  <a:pt x="50925" y="21891"/>
                  <a:pt x="53078" y="21765"/>
                </a:cubicBezTo>
                <a:cubicBezTo>
                  <a:pt x="53572" y="21733"/>
                  <a:pt x="54064" y="21717"/>
                  <a:pt x="54554" y="21717"/>
                </a:cubicBezTo>
                <a:cubicBezTo>
                  <a:pt x="57020" y="21717"/>
                  <a:pt x="59441" y="22117"/>
                  <a:pt x="61819" y="22936"/>
                </a:cubicBezTo>
                <a:cubicBezTo>
                  <a:pt x="64669" y="23886"/>
                  <a:pt x="67361" y="25501"/>
                  <a:pt x="69673" y="27655"/>
                </a:cubicBezTo>
                <a:lnTo>
                  <a:pt x="69736" y="27718"/>
                </a:lnTo>
                <a:cubicBezTo>
                  <a:pt x="72016" y="29840"/>
                  <a:pt x="73885" y="32469"/>
                  <a:pt x="75151" y="35382"/>
                </a:cubicBezTo>
                <a:lnTo>
                  <a:pt x="75658" y="36522"/>
                </a:lnTo>
                <a:lnTo>
                  <a:pt x="76006" y="37662"/>
                </a:lnTo>
                <a:cubicBezTo>
                  <a:pt x="76133" y="38042"/>
                  <a:pt x="76260" y="38454"/>
                  <a:pt x="76355" y="38834"/>
                </a:cubicBezTo>
                <a:lnTo>
                  <a:pt x="76608" y="40037"/>
                </a:lnTo>
                <a:cubicBezTo>
                  <a:pt x="76671" y="40449"/>
                  <a:pt x="76830" y="40861"/>
                  <a:pt x="76861" y="41273"/>
                </a:cubicBezTo>
                <a:lnTo>
                  <a:pt x="76988" y="42508"/>
                </a:lnTo>
                <a:cubicBezTo>
                  <a:pt x="76988" y="42888"/>
                  <a:pt x="77115" y="43363"/>
                  <a:pt x="77083" y="43711"/>
                </a:cubicBezTo>
                <a:lnTo>
                  <a:pt x="77083" y="44851"/>
                </a:lnTo>
                <a:cubicBezTo>
                  <a:pt x="77115" y="45231"/>
                  <a:pt x="77052" y="45611"/>
                  <a:pt x="77020" y="45991"/>
                </a:cubicBezTo>
                <a:cubicBezTo>
                  <a:pt x="76988" y="46371"/>
                  <a:pt x="76988" y="46751"/>
                  <a:pt x="76925" y="47131"/>
                </a:cubicBezTo>
                <a:cubicBezTo>
                  <a:pt x="76830" y="47480"/>
                  <a:pt x="76766" y="47860"/>
                  <a:pt x="76703" y="48208"/>
                </a:cubicBezTo>
                <a:cubicBezTo>
                  <a:pt x="76640" y="48620"/>
                  <a:pt x="76545" y="49000"/>
                  <a:pt x="76418" y="49348"/>
                </a:cubicBezTo>
                <a:cubicBezTo>
                  <a:pt x="76038" y="50868"/>
                  <a:pt x="75341" y="52230"/>
                  <a:pt x="74550" y="53592"/>
                </a:cubicBezTo>
                <a:cubicBezTo>
                  <a:pt x="74106" y="54257"/>
                  <a:pt x="73726" y="54954"/>
                  <a:pt x="73188" y="55524"/>
                </a:cubicBezTo>
                <a:cubicBezTo>
                  <a:pt x="72713" y="56189"/>
                  <a:pt x="72143" y="56695"/>
                  <a:pt x="71604" y="57297"/>
                </a:cubicBezTo>
                <a:cubicBezTo>
                  <a:pt x="70433" y="58342"/>
                  <a:pt x="69166" y="59387"/>
                  <a:pt x="67741" y="60116"/>
                </a:cubicBezTo>
                <a:cubicBezTo>
                  <a:pt x="67234" y="60432"/>
                  <a:pt x="66696" y="60654"/>
                  <a:pt x="66126" y="60876"/>
                </a:cubicBezTo>
                <a:cubicBezTo>
                  <a:pt x="66126" y="60876"/>
                  <a:pt x="66094" y="60907"/>
                  <a:pt x="66094" y="60907"/>
                </a:cubicBezTo>
                <a:cubicBezTo>
                  <a:pt x="65936" y="60971"/>
                  <a:pt x="65746" y="61034"/>
                  <a:pt x="65556" y="61129"/>
                </a:cubicBezTo>
                <a:cubicBezTo>
                  <a:pt x="65176" y="61287"/>
                  <a:pt x="64796" y="61382"/>
                  <a:pt x="64416" y="61509"/>
                </a:cubicBezTo>
                <a:cubicBezTo>
                  <a:pt x="64036" y="61636"/>
                  <a:pt x="63655" y="61794"/>
                  <a:pt x="63244" y="61857"/>
                </a:cubicBezTo>
                <a:lnTo>
                  <a:pt x="62072" y="62111"/>
                </a:lnTo>
                <a:cubicBezTo>
                  <a:pt x="61660" y="62206"/>
                  <a:pt x="61249" y="62206"/>
                  <a:pt x="60837" y="62269"/>
                </a:cubicBezTo>
                <a:cubicBezTo>
                  <a:pt x="59982" y="62396"/>
                  <a:pt x="59285" y="62364"/>
                  <a:pt x="58525" y="62396"/>
                </a:cubicBezTo>
                <a:cubicBezTo>
                  <a:pt x="55707" y="62269"/>
                  <a:pt x="52856" y="61351"/>
                  <a:pt x="50513" y="59546"/>
                </a:cubicBezTo>
                <a:cubicBezTo>
                  <a:pt x="50513" y="59514"/>
                  <a:pt x="50513" y="59514"/>
                  <a:pt x="50481" y="59514"/>
                </a:cubicBezTo>
                <a:cubicBezTo>
                  <a:pt x="50386" y="59419"/>
                  <a:pt x="50291" y="59355"/>
                  <a:pt x="50196" y="59260"/>
                </a:cubicBezTo>
                <a:cubicBezTo>
                  <a:pt x="48993" y="58310"/>
                  <a:pt x="47916" y="57170"/>
                  <a:pt x="47093" y="55872"/>
                </a:cubicBezTo>
                <a:cubicBezTo>
                  <a:pt x="46269" y="54573"/>
                  <a:pt x="45636" y="53148"/>
                  <a:pt x="45192" y="51628"/>
                </a:cubicBezTo>
                <a:cubicBezTo>
                  <a:pt x="44939" y="50615"/>
                  <a:pt x="44781" y="49570"/>
                  <a:pt x="44717" y="48556"/>
                </a:cubicBezTo>
                <a:cubicBezTo>
                  <a:pt x="44717" y="48493"/>
                  <a:pt x="44717" y="48461"/>
                  <a:pt x="44717" y="48430"/>
                </a:cubicBezTo>
                <a:cubicBezTo>
                  <a:pt x="44717" y="47986"/>
                  <a:pt x="44717" y="47543"/>
                  <a:pt x="44717" y="47131"/>
                </a:cubicBezTo>
                <a:cubicBezTo>
                  <a:pt x="44812" y="45706"/>
                  <a:pt x="45192" y="44313"/>
                  <a:pt x="45826" y="43014"/>
                </a:cubicBezTo>
                <a:cubicBezTo>
                  <a:pt x="47061" y="40386"/>
                  <a:pt x="49373" y="38264"/>
                  <a:pt x="52096" y="37187"/>
                </a:cubicBezTo>
                <a:cubicBezTo>
                  <a:pt x="52381" y="37092"/>
                  <a:pt x="52698" y="36997"/>
                  <a:pt x="52983" y="36902"/>
                </a:cubicBezTo>
                <a:lnTo>
                  <a:pt x="53015" y="36902"/>
                </a:lnTo>
                <a:cubicBezTo>
                  <a:pt x="53046" y="36871"/>
                  <a:pt x="53110" y="36871"/>
                  <a:pt x="53141" y="36839"/>
                </a:cubicBezTo>
                <a:cubicBezTo>
                  <a:pt x="53490" y="36744"/>
                  <a:pt x="53838" y="36681"/>
                  <a:pt x="54218" y="36586"/>
                </a:cubicBezTo>
                <a:cubicBezTo>
                  <a:pt x="54566" y="36491"/>
                  <a:pt x="54915" y="36491"/>
                  <a:pt x="55295" y="36459"/>
                </a:cubicBezTo>
                <a:cubicBezTo>
                  <a:pt x="55675" y="36396"/>
                  <a:pt x="55992" y="36396"/>
                  <a:pt x="56340" y="36396"/>
                </a:cubicBezTo>
                <a:cubicBezTo>
                  <a:pt x="56406" y="36394"/>
                  <a:pt x="56473" y="36393"/>
                  <a:pt x="56540" y="36393"/>
                </a:cubicBezTo>
                <a:cubicBezTo>
                  <a:pt x="57806" y="36393"/>
                  <a:pt x="59094" y="36679"/>
                  <a:pt x="60267" y="37251"/>
                </a:cubicBezTo>
                <a:cubicBezTo>
                  <a:pt x="61185" y="37662"/>
                  <a:pt x="62040" y="38296"/>
                  <a:pt x="62800" y="39024"/>
                </a:cubicBezTo>
                <a:cubicBezTo>
                  <a:pt x="64004" y="40196"/>
                  <a:pt x="64891" y="41684"/>
                  <a:pt x="65366" y="43299"/>
                </a:cubicBezTo>
                <a:lnTo>
                  <a:pt x="65587" y="44281"/>
                </a:lnTo>
                <a:lnTo>
                  <a:pt x="65714" y="45295"/>
                </a:lnTo>
                <a:cubicBezTo>
                  <a:pt x="65714" y="45928"/>
                  <a:pt x="65746" y="46561"/>
                  <a:pt x="65587" y="47163"/>
                </a:cubicBezTo>
                <a:cubicBezTo>
                  <a:pt x="65556" y="47353"/>
                  <a:pt x="65524" y="47575"/>
                  <a:pt x="65461" y="47765"/>
                </a:cubicBezTo>
                <a:cubicBezTo>
                  <a:pt x="65207" y="48778"/>
                  <a:pt x="64701" y="49728"/>
                  <a:pt x="64036" y="50552"/>
                </a:cubicBezTo>
                <a:cubicBezTo>
                  <a:pt x="63244" y="51533"/>
                  <a:pt x="62199" y="52293"/>
                  <a:pt x="61059" y="52800"/>
                </a:cubicBezTo>
                <a:cubicBezTo>
                  <a:pt x="61059" y="52800"/>
                  <a:pt x="61027" y="52832"/>
                  <a:pt x="61027" y="52832"/>
                </a:cubicBezTo>
                <a:lnTo>
                  <a:pt x="60995" y="52832"/>
                </a:lnTo>
                <a:cubicBezTo>
                  <a:pt x="60457" y="53085"/>
                  <a:pt x="59855" y="53212"/>
                  <a:pt x="59285" y="53338"/>
                </a:cubicBezTo>
                <a:cubicBezTo>
                  <a:pt x="58968" y="53370"/>
                  <a:pt x="58652" y="53433"/>
                  <a:pt x="58335" y="53433"/>
                </a:cubicBezTo>
                <a:cubicBezTo>
                  <a:pt x="58145" y="53433"/>
                  <a:pt x="57955" y="53447"/>
                  <a:pt x="57765" y="53447"/>
                </a:cubicBezTo>
                <a:cubicBezTo>
                  <a:pt x="57670" y="53447"/>
                  <a:pt x="57575" y="53444"/>
                  <a:pt x="57480" y="53433"/>
                </a:cubicBezTo>
                <a:cubicBezTo>
                  <a:pt x="56467" y="53338"/>
                  <a:pt x="55517" y="52990"/>
                  <a:pt x="54661" y="52452"/>
                </a:cubicBezTo>
                <a:cubicBezTo>
                  <a:pt x="54661" y="52452"/>
                  <a:pt x="54661" y="52452"/>
                  <a:pt x="54630" y="52420"/>
                </a:cubicBezTo>
                <a:cubicBezTo>
                  <a:pt x="53553" y="51723"/>
                  <a:pt x="52698" y="50710"/>
                  <a:pt x="52223" y="49506"/>
                </a:cubicBezTo>
                <a:cubicBezTo>
                  <a:pt x="52033" y="49031"/>
                  <a:pt x="51906" y="48525"/>
                  <a:pt x="51811" y="48018"/>
                </a:cubicBezTo>
                <a:cubicBezTo>
                  <a:pt x="51811" y="47986"/>
                  <a:pt x="51811" y="47923"/>
                  <a:pt x="51811" y="47891"/>
                </a:cubicBezTo>
                <a:cubicBezTo>
                  <a:pt x="51716" y="47321"/>
                  <a:pt x="51716" y="46783"/>
                  <a:pt x="51811" y="46276"/>
                </a:cubicBezTo>
                <a:cubicBezTo>
                  <a:pt x="51970" y="45231"/>
                  <a:pt x="52476" y="44249"/>
                  <a:pt x="53205" y="43521"/>
                </a:cubicBezTo>
                <a:cubicBezTo>
                  <a:pt x="53806" y="42919"/>
                  <a:pt x="54535" y="42476"/>
                  <a:pt x="55327" y="42223"/>
                </a:cubicBezTo>
                <a:lnTo>
                  <a:pt x="55358" y="42223"/>
                </a:lnTo>
                <a:cubicBezTo>
                  <a:pt x="55906" y="42040"/>
                  <a:pt x="56476" y="41945"/>
                  <a:pt x="57026" y="41945"/>
                </a:cubicBezTo>
                <a:cubicBezTo>
                  <a:pt x="57620" y="41945"/>
                  <a:pt x="58190" y="42056"/>
                  <a:pt x="58683" y="42286"/>
                </a:cubicBezTo>
                <a:cubicBezTo>
                  <a:pt x="59253" y="42539"/>
                  <a:pt x="59729" y="42888"/>
                  <a:pt x="60109" y="43331"/>
                </a:cubicBezTo>
                <a:lnTo>
                  <a:pt x="60140" y="43363"/>
                </a:lnTo>
                <a:cubicBezTo>
                  <a:pt x="60964" y="44281"/>
                  <a:pt x="61375" y="45516"/>
                  <a:pt x="61280" y="46656"/>
                </a:cubicBezTo>
                <a:cubicBezTo>
                  <a:pt x="61249" y="46973"/>
                  <a:pt x="61154" y="47290"/>
                  <a:pt x="61059" y="47575"/>
                </a:cubicBezTo>
                <a:cubicBezTo>
                  <a:pt x="60679" y="48556"/>
                  <a:pt x="59887" y="49285"/>
                  <a:pt x="59000" y="49665"/>
                </a:cubicBezTo>
                <a:cubicBezTo>
                  <a:pt x="58778" y="49760"/>
                  <a:pt x="58525" y="49823"/>
                  <a:pt x="58303" y="49855"/>
                </a:cubicBezTo>
                <a:cubicBezTo>
                  <a:pt x="58066" y="49906"/>
                  <a:pt x="57836" y="49931"/>
                  <a:pt x="57612" y="49931"/>
                </a:cubicBezTo>
                <a:cubicBezTo>
                  <a:pt x="57148" y="49931"/>
                  <a:pt x="56714" y="49825"/>
                  <a:pt x="56308" y="49633"/>
                </a:cubicBezTo>
                <a:cubicBezTo>
                  <a:pt x="56308" y="49633"/>
                  <a:pt x="56308" y="49601"/>
                  <a:pt x="56277" y="49601"/>
                </a:cubicBezTo>
                <a:cubicBezTo>
                  <a:pt x="55707" y="49348"/>
                  <a:pt x="55232" y="48873"/>
                  <a:pt x="54946" y="48366"/>
                </a:cubicBezTo>
                <a:cubicBezTo>
                  <a:pt x="54851" y="48176"/>
                  <a:pt x="54756" y="47986"/>
                  <a:pt x="54693" y="47796"/>
                </a:cubicBezTo>
                <a:cubicBezTo>
                  <a:pt x="54693" y="47765"/>
                  <a:pt x="54661" y="47733"/>
                  <a:pt x="54661" y="47670"/>
                </a:cubicBezTo>
                <a:cubicBezTo>
                  <a:pt x="54408" y="46846"/>
                  <a:pt x="54566" y="46023"/>
                  <a:pt x="54915" y="45453"/>
                </a:cubicBezTo>
                <a:cubicBezTo>
                  <a:pt x="55295" y="44819"/>
                  <a:pt x="55833" y="44503"/>
                  <a:pt x="56245" y="44344"/>
                </a:cubicBezTo>
                <a:cubicBezTo>
                  <a:pt x="56277" y="44344"/>
                  <a:pt x="56277" y="44344"/>
                  <a:pt x="56308" y="44313"/>
                </a:cubicBezTo>
                <a:cubicBezTo>
                  <a:pt x="56340" y="44313"/>
                  <a:pt x="56372" y="44313"/>
                  <a:pt x="56435" y="44281"/>
                </a:cubicBezTo>
                <a:cubicBezTo>
                  <a:pt x="56847" y="44154"/>
                  <a:pt x="57100" y="44154"/>
                  <a:pt x="57100" y="44154"/>
                </a:cubicBezTo>
                <a:lnTo>
                  <a:pt x="56910" y="44154"/>
                </a:lnTo>
                <a:cubicBezTo>
                  <a:pt x="56815" y="44154"/>
                  <a:pt x="56625" y="44154"/>
                  <a:pt x="56403" y="44218"/>
                </a:cubicBezTo>
                <a:cubicBezTo>
                  <a:pt x="56372" y="44218"/>
                  <a:pt x="56308" y="44218"/>
                  <a:pt x="56277" y="44249"/>
                </a:cubicBezTo>
                <a:lnTo>
                  <a:pt x="56213" y="44249"/>
                </a:lnTo>
                <a:cubicBezTo>
                  <a:pt x="55770" y="44376"/>
                  <a:pt x="55168" y="44661"/>
                  <a:pt x="54661" y="45295"/>
                </a:cubicBezTo>
                <a:cubicBezTo>
                  <a:pt x="54218" y="45833"/>
                  <a:pt x="53965" y="46751"/>
                  <a:pt x="54123" y="47701"/>
                </a:cubicBezTo>
                <a:cubicBezTo>
                  <a:pt x="54123" y="47765"/>
                  <a:pt x="54123" y="47796"/>
                  <a:pt x="54123" y="47860"/>
                </a:cubicBezTo>
                <a:cubicBezTo>
                  <a:pt x="54186" y="48113"/>
                  <a:pt x="54250" y="48366"/>
                  <a:pt x="54376" y="48651"/>
                </a:cubicBezTo>
                <a:cubicBezTo>
                  <a:pt x="54661" y="49285"/>
                  <a:pt x="55168" y="49918"/>
                  <a:pt x="55833" y="50362"/>
                </a:cubicBezTo>
                <a:lnTo>
                  <a:pt x="55865" y="50362"/>
                </a:lnTo>
                <a:cubicBezTo>
                  <a:pt x="55865" y="50362"/>
                  <a:pt x="55865" y="50393"/>
                  <a:pt x="55897" y="50393"/>
                </a:cubicBezTo>
                <a:cubicBezTo>
                  <a:pt x="56486" y="50768"/>
                  <a:pt x="57235" y="50985"/>
                  <a:pt x="58027" y="50985"/>
                </a:cubicBezTo>
                <a:cubicBezTo>
                  <a:pt x="58171" y="50985"/>
                  <a:pt x="58316" y="50978"/>
                  <a:pt x="58462" y="50963"/>
                </a:cubicBezTo>
                <a:cubicBezTo>
                  <a:pt x="58842" y="50932"/>
                  <a:pt x="59253" y="50837"/>
                  <a:pt x="59665" y="50710"/>
                </a:cubicBezTo>
                <a:cubicBezTo>
                  <a:pt x="60204" y="50520"/>
                  <a:pt x="60742" y="50203"/>
                  <a:pt x="61217" y="49823"/>
                </a:cubicBezTo>
                <a:cubicBezTo>
                  <a:pt x="61882" y="49285"/>
                  <a:pt x="62420" y="48525"/>
                  <a:pt x="62737" y="47670"/>
                </a:cubicBezTo>
                <a:lnTo>
                  <a:pt x="62737" y="47638"/>
                </a:lnTo>
                <a:cubicBezTo>
                  <a:pt x="62832" y="47416"/>
                  <a:pt x="62895" y="47163"/>
                  <a:pt x="62927" y="46910"/>
                </a:cubicBezTo>
                <a:cubicBezTo>
                  <a:pt x="63085" y="46308"/>
                  <a:pt x="63085" y="45675"/>
                  <a:pt x="63022" y="45073"/>
                </a:cubicBezTo>
                <a:cubicBezTo>
                  <a:pt x="62927" y="44471"/>
                  <a:pt x="62769" y="43838"/>
                  <a:pt x="62515" y="43236"/>
                </a:cubicBezTo>
                <a:cubicBezTo>
                  <a:pt x="62230" y="42571"/>
                  <a:pt x="61819" y="41969"/>
                  <a:pt x="61312" y="41399"/>
                </a:cubicBezTo>
                <a:cubicBezTo>
                  <a:pt x="60869" y="40924"/>
                  <a:pt x="60362" y="40513"/>
                  <a:pt x="59792" y="40196"/>
                </a:cubicBezTo>
                <a:cubicBezTo>
                  <a:pt x="58804" y="39588"/>
                  <a:pt x="57572" y="39284"/>
                  <a:pt x="56357" y="39284"/>
                </a:cubicBezTo>
                <a:cubicBezTo>
                  <a:pt x="56054" y="39284"/>
                  <a:pt x="55751" y="39303"/>
                  <a:pt x="55453" y="39341"/>
                </a:cubicBezTo>
                <a:cubicBezTo>
                  <a:pt x="55042" y="39372"/>
                  <a:pt x="54630" y="39467"/>
                  <a:pt x="54218" y="39594"/>
                </a:cubicBezTo>
                <a:lnTo>
                  <a:pt x="54155" y="39594"/>
                </a:lnTo>
                <a:cubicBezTo>
                  <a:pt x="53078" y="39879"/>
                  <a:pt x="52033" y="40418"/>
                  <a:pt x="51115" y="41178"/>
                </a:cubicBezTo>
                <a:cubicBezTo>
                  <a:pt x="49816" y="42191"/>
                  <a:pt x="48803" y="43711"/>
                  <a:pt x="48328" y="45421"/>
                </a:cubicBezTo>
                <a:cubicBezTo>
                  <a:pt x="48074" y="46276"/>
                  <a:pt x="47948" y="47226"/>
                  <a:pt x="47979" y="48113"/>
                </a:cubicBezTo>
                <a:lnTo>
                  <a:pt x="47979" y="48176"/>
                </a:lnTo>
                <a:cubicBezTo>
                  <a:pt x="47979" y="48208"/>
                  <a:pt x="47979" y="48271"/>
                  <a:pt x="48011" y="48303"/>
                </a:cubicBezTo>
                <a:cubicBezTo>
                  <a:pt x="48043" y="49126"/>
                  <a:pt x="48169" y="49950"/>
                  <a:pt x="48391" y="50773"/>
                </a:cubicBezTo>
                <a:cubicBezTo>
                  <a:pt x="48993" y="52927"/>
                  <a:pt x="50386" y="54954"/>
                  <a:pt x="52318" y="56379"/>
                </a:cubicBezTo>
                <a:cubicBezTo>
                  <a:pt x="52318" y="56410"/>
                  <a:pt x="52350" y="56410"/>
                  <a:pt x="52350" y="56410"/>
                </a:cubicBezTo>
                <a:cubicBezTo>
                  <a:pt x="53616" y="57360"/>
                  <a:pt x="55073" y="58025"/>
                  <a:pt x="56720" y="58342"/>
                </a:cubicBezTo>
                <a:cubicBezTo>
                  <a:pt x="57478" y="58491"/>
                  <a:pt x="58229" y="58562"/>
                  <a:pt x="58974" y="58562"/>
                </a:cubicBezTo>
                <a:cubicBezTo>
                  <a:pt x="60281" y="58562"/>
                  <a:pt x="61572" y="58345"/>
                  <a:pt x="62864" y="57962"/>
                </a:cubicBezTo>
                <a:cubicBezTo>
                  <a:pt x="63244" y="57835"/>
                  <a:pt x="63624" y="57709"/>
                  <a:pt x="63972" y="57550"/>
                </a:cubicBezTo>
                <a:lnTo>
                  <a:pt x="64004" y="57550"/>
                </a:lnTo>
                <a:cubicBezTo>
                  <a:pt x="65619" y="56885"/>
                  <a:pt x="67139" y="55904"/>
                  <a:pt x="68406" y="54637"/>
                </a:cubicBezTo>
                <a:cubicBezTo>
                  <a:pt x="69989" y="53053"/>
                  <a:pt x="71224" y="51058"/>
                  <a:pt x="71889" y="48778"/>
                </a:cubicBezTo>
                <a:cubicBezTo>
                  <a:pt x="71984" y="48525"/>
                  <a:pt x="72048" y="48271"/>
                  <a:pt x="72111" y="48018"/>
                </a:cubicBezTo>
                <a:cubicBezTo>
                  <a:pt x="72333" y="47131"/>
                  <a:pt x="72428" y="46213"/>
                  <a:pt x="72491" y="45295"/>
                </a:cubicBezTo>
                <a:cubicBezTo>
                  <a:pt x="72459" y="44724"/>
                  <a:pt x="72459" y="44154"/>
                  <a:pt x="72459" y="43553"/>
                </a:cubicBezTo>
                <a:cubicBezTo>
                  <a:pt x="72396" y="42983"/>
                  <a:pt x="72333" y="42413"/>
                  <a:pt x="72238" y="41843"/>
                </a:cubicBezTo>
                <a:cubicBezTo>
                  <a:pt x="71668" y="38264"/>
                  <a:pt x="69799" y="34812"/>
                  <a:pt x="66981" y="32215"/>
                </a:cubicBezTo>
                <a:cubicBezTo>
                  <a:pt x="66157" y="31424"/>
                  <a:pt x="65239" y="30695"/>
                  <a:pt x="64226" y="30093"/>
                </a:cubicBezTo>
                <a:cubicBezTo>
                  <a:pt x="62072" y="28763"/>
                  <a:pt x="59539" y="27908"/>
                  <a:pt x="56910" y="27655"/>
                </a:cubicBezTo>
                <a:cubicBezTo>
                  <a:pt x="56393" y="27603"/>
                  <a:pt x="55833" y="27552"/>
                  <a:pt x="55318" y="27552"/>
                </a:cubicBezTo>
                <a:cubicBezTo>
                  <a:pt x="55202" y="27552"/>
                  <a:pt x="55089" y="27554"/>
                  <a:pt x="54978" y="27560"/>
                </a:cubicBezTo>
                <a:cubicBezTo>
                  <a:pt x="54345" y="27592"/>
                  <a:pt x="53711" y="27560"/>
                  <a:pt x="53078" y="27655"/>
                </a:cubicBezTo>
                <a:cubicBezTo>
                  <a:pt x="52445" y="27718"/>
                  <a:pt x="51811" y="27750"/>
                  <a:pt x="51178" y="27908"/>
                </a:cubicBezTo>
                <a:cubicBezTo>
                  <a:pt x="50544" y="28035"/>
                  <a:pt x="49911" y="28162"/>
                  <a:pt x="49278" y="28320"/>
                </a:cubicBezTo>
                <a:lnTo>
                  <a:pt x="49214" y="28320"/>
                </a:lnTo>
                <a:cubicBezTo>
                  <a:pt x="44211" y="29713"/>
                  <a:pt x="39619" y="33102"/>
                  <a:pt x="36705" y="37789"/>
                </a:cubicBezTo>
                <a:cubicBezTo>
                  <a:pt x="35248" y="40132"/>
                  <a:pt x="34235" y="42793"/>
                  <a:pt x="33760" y="45611"/>
                </a:cubicBezTo>
                <a:cubicBezTo>
                  <a:pt x="33602" y="46308"/>
                  <a:pt x="33538" y="47005"/>
                  <a:pt x="33475" y="47733"/>
                </a:cubicBezTo>
                <a:cubicBezTo>
                  <a:pt x="33475" y="48081"/>
                  <a:pt x="33412" y="48430"/>
                  <a:pt x="33412" y="48778"/>
                </a:cubicBezTo>
                <a:lnTo>
                  <a:pt x="33412" y="49348"/>
                </a:lnTo>
                <a:lnTo>
                  <a:pt x="33412" y="49823"/>
                </a:lnTo>
                <a:cubicBezTo>
                  <a:pt x="33412" y="51185"/>
                  <a:pt x="33570" y="52547"/>
                  <a:pt x="33760" y="53908"/>
                </a:cubicBezTo>
                <a:cubicBezTo>
                  <a:pt x="34235" y="56664"/>
                  <a:pt x="35090" y="59355"/>
                  <a:pt x="36388" y="61889"/>
                </a:cubicBezTo>
                <a:cubicBezTo>
                  <a:pt x="37655" y="64423"/>
                  <a:pt x="39429" y="66703"/>
                  <a:pt x="41455" y="68761"/>
                </a:cubicBezTo>
                <a:cubicBezTo>
                  <a:pt x="42216" y="69490"/>
                  <a:pt x="43007" y="70218"/>
                  <a:pt x="43831" y="70851"/>
                </a:cubicBezTo>
                <a:lnTo>
                  <a:pt x="43862" y="70883"/>
                </a:lnTo>
                <a:cubicBezTo>
                  <a:pt x="47631" y="73797"/>
                  <a:pt x="52255" y="75728"/>
                  <a:pt x="57100" y="76425"/>
                </a:cubicBezTo>
                <a:cubicBezTo>
                  <a:pt x="58320" y="76555"/>
                  <a:pt x="59583" y="76663"/>
                  <a:pt x="60766" y="76663"/>
                </a:cubicBezTo>
                <a:cubicBezTo>
                  <a:pt x="61026" y="76663"/>
                  <a:pt x="61283" y="76658"/>
                  <a:pt x="61534" y="76647"/>
                </a:cubicBezTo>
                <a:cubicBezTo>
                  <a:pt x="62262" y="76615"/>
                  <a:pt x="62990" y="76647"/>
                  <a:pt x="63687" y="76552"/>
                </a:cubicBezTo>
                <a:lnTo>
                  <a:pt x="65872" y="76298"/>
                </a:lnTo>
                <a:cubicBezTo>
                  <a:pt x="66569" y="76235"/>
                  <a:pt x="67297" y="76077"/>
                  <a:pt x="67994" y="75918"/>
                </a:cubicBezTo>
                <a:cubicBezTo>
                  <a:pt x="68691" y="75760"/>
                  <a:pt x="69419" y="75633"/>
                  <a:pt x="70116" y="75412"/>
                </a:cubicBezTo>
                <a:cubicBezTo>
                  <a:pt x="71509" y="74968"/>
                  <a:pt x="72935" y="74588"/>
                  <a:pt x="74265" y="73923"/>
                </a:cubicBezTo>
                <a:cubicBezTo>
                  <a:pt x="74296" y="73923"/>
                  <a:pt x="74296" y="73923"/>
                  <a:pt x="74328" y="73892"/>
                </a:cubicBezTo>
                <a:lnTo>
                  <a:pt x="74391" y="73892"/>
                </a:lnTo>
                <a:cubicBezTo>
                  <a:pt x="77083" y="72783"/>
                  <a:pt x="79553" y="71200"/>
                  <a:pt x="81865" y="69426"/>
                </a:cubicBezTo>
                <a:cubicBezTo>
                  <a:pt x="83005" y="68476"/>
                  <a:pt x="84177" y="67526"/>
                  <a:pt x="85159" y="66418"/>
                </a:cubicBezTo>
                <a:cubicBezTo>
                  <a:pt x="86236" y="65373"/>
                  <a:pt x="87154" y="64201"/>
                  <a:pt x="88104" y="63029"/>
                </a:cubicBezTo>
                <a:cubicBezTo>
                  <a:pt x="89846" y="60591"/>
                  <a:pt x="91398" y="57962"/>
                  <a:pt x="92474" y="55112"/>
                </a:cubicBezTo>
                <a:cubicBezTo>
                  <a:pt x="93076" y="53718"/>
                  <a:pt x="93456" y="52230"/>
                  <a:pt x="93868" y="50773"/>
                </a:cubicBezTo>
                <a:cubicBezTo>
                  <a:pt x="94058" y="50172"/>
                  <a:pt x="94153" y="49538"/>
                  <a:pt x="94248" y="48905"/>
                </a:cubicBezTo>
                <a:cubicBezTo>
                  <a:pt x="94248" y="48905"/>
                  <a:pt x="94279" y="48905"/>
                  <a:pt x="94279" y="48873"/>
                </a:cubicBezTo>
                <a:cubicBezTo>
                  <a:pt x="94279" y="48746"/>
                  <a:pt x="94311" y="48651"/>
                  <a:pt x="94343" y="48525"/>
                </a:cubicBezTo>
                <a:cubicBezTo>
                  <a:pt x="94470" y="47765"/>
                  <a:pt x="94628" y="47036"/>
                  <a:pt x="94660" y="46276"/>
                </a:cubicBezTo>
                <a:lnTo>
                  <a:pt x="94850" y="43996"/>
                </a:lnTo>
                <a:cubicBezTo>
                  <a:pt x="94945" y="43204"/>
                  <a:pt x="94881" y="42508"/>
                  <a:pt x="94881" y="41779"/>
                </a:cubicBezTo>
                <a:lnTo>
                  <a:pt x="94818" y="39594"/>
                </a:lnTo>
                <a:cubicBezTo>
                  <a:pt x="94818" y="38866"/>
                  <a:pt x="94691" y="38137"/>
                  <a:pt x="94628" y="37409"/>
                </a:cubicBezTo>
                <a:lnTo>
                  <a:pt x="94343" y="35255"/>
                </a:lnTo>
                <a:cubicBezTo>
                  <a:pt x="94216" y="34527"/>
                  <a:pt x="94058" y="33830"/>
                  <a:pt x="93899" y="33102"/>
                </a:cubicBezTo>
                <a:lnTo>
                  <a:pt x="93393" y="30980"/>
                </a:lnTo>
                <a:lnTo>
                  <a:pt x="92728" y="28890"/>
                </a:lnTo>
                <a:cubicBezTo>
                  <a:pt x="90859" y="23316"/>
                  <a:pt x="87819" y="18154"/>
                  <a:pt x="83860" y="13847"/>
                </a:cubicBezTo>
                <a:cubicBezTo>
                  <a:pt x="82752" y="12644"/>
                  <a:pt x="81612" y="11504"/>
                  <a:pt x="80377" y="10427"/>
                </a:cubicBezTo>
                <a:cubicBezTo>
                  <a:pt x="77178" y="7672"/>
                  <a:pt x="73568" y="5360"/>
                  <a:pt x="69704" y="3682"/>
                </a:cubicBezTo>
                <a:cubicBezTo>
                  <a:pt x="64384" y="1306"/>
                  <a:pt x="58525" y="71"/>
                  <a:pt x="52825" y="8"/>
                </a:cubicBezTo>
                <a:cubicBezTo>
                  <a:pt x="52535" y="3"/>
                  <a:pt x="52246" y="0"/>
                  <a:pt x="51957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73" name="Google Shape;1473;p40"/>
          <p:cNvSpPr/>
          <p:nvPr/>
        </p:nvSpPr>
        <p:spPr>
          <a:xfrm>
            <a:off x="9929564" y="2840729"/>
            <a:ext cx="37851" cy="8151"/>
          </a:xfrm>
          <a:custGeom>
            <a:avLst/>
            <a:gdLst/>
            <a:ahLst/>
            <a:cxnLst/>
            <a:rect l="l" t="t" r="r" b="b"/>
            <a:pathLst>
              <a:path w="887" h="191" extrusionOk="0">
                <a:moveTo>
                  <a:pt x="729" y="0"/>
                </a:moveTo>
                <a:cubicBezTo>
                  <a:pt x="602" y="0"/>
                  <a:pt x="412" y="32"/>
                  <a:pt x="190" y="64"/>
                </a:cubicBezTo>
                <a:cubicBezTo>
                  <a:pt x="159" y="64"/>
                  <a:pt x="64" y="95"/>
                  <a:pt x="0" y="127"/>
                </a:cubicBezTo>
                <a:lnTo>
                  <a:pt x="32" y="190"/>
                </a:lnTo>
                <a:cubicBezTo>
                  <a:pt x="95" y="190"/>
                  <a:pt x="159" y="159"/>
                  <a:pt x="222" y="127"/>
                </a:cubicBezTo>
                <a:cubicBezTo>
                  <a:pt x="634" y="0"/>
                  <a:pt x="887" y="0"/>
                  <a:pt x="887" y="0"/>
                </a:cubicBezTo>
                <a:close/>
              </a:path>
            </a:pathLst>
          </a:custGeom>
          <a:solidFill>
            <a:srgbClr val="659AF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74" name="Google Shape;1474;p40"/>
          <p:cNvSpPr/>
          <p:nvPr/>
        </p:nvSpPr>
        <p:spPr>
          <a:xfrm>
            <a:off x="9841699" y="2632995"/>
            <a:ext cx="305456" cy="173979"/>
          </a:xfrm>
          <a:custGeom>
            <a:avLst/>
            <a:gdLst/>
            <a:ahLst/>
            <a:cxnLst/>
            <a:rect l="l" t="t" r="r" b="b"/>
            <a:pathLst>
              <a:path w="7158" h="4077" extrusionOk="0">
                <a:moveTo>
                  <a:pt x="2162" y="1"/>
                </a:moveTo>
                <a:cubicBezTo>
                  <a:pt x="1872" y="1"/>
                  <a:pt x="1583" y="18"/>
                  <a:pt x="1299" y="55"/>
                </a:cubicBezTo>
                <a:cubicBezTo>
                  <a:pt x="888" y="118"/>
                  <a:pt x="444" y="181"/>
                  <a:pt x="1" y="308"/>
                </a:cubicBezTo>
                <a:lnTo>
                  <a:pt x="1173" y="2968"/>
                </a:lnTo>
                <a:cubicBezTo>
                  <a:pt x="1722" y="2770"/>
                  <a:pt x="2294" y="2667"/>
                  <a:pt x="2852" y="2667"/>
                </a:cubicBezTo>
                <a:cubicBezTo>
                  <a:pt x="3452" y="2667"/>
                  <a:pt x="4036" y="2786"/>
                  <a:pt x="4561" y="3032"/>
                </a:cubicBezTo>
                <a:cubicBezTo>
                  <a:pt x="5099" y="3253"/>
                  <a:pt x="5606" y="3633"/>
                  <a:pt x="5986" y="4077"/>
                </a:cubicBezTo>
                <a:lnTo>
                  <a:pt x="7158" y="2145"/>
                </a:lnTo>
                <a:cubicBezTo>
                  <a:pt x="6746" y="1670"/>
                  <a:pt x="6240" y="1258"/>
                  <a:pt x="5638" y="910"/>
                </a:cubicBezTo>
                <a:cubicBezTo>
                  <a:pt x="4639" y="320"/>
                  <a:pt x="3391" y="1"/>
                  <a:pt x="2162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75" name="Google Shape;1475;p40"/>
          <p:cNvSpPr/>
          <p:nvPr/>
        </p:nvSpPr>
        <p:spPr>
          <a:xfrm>
            <a:off x="9630894" y="2132222"/>
            <a:ext cx="758177" cy="489634"/>
          </a:xfrm>
          <a:custGeom>
            <a:avLst/>
            <a:gdLst/>
            <a:ahLst/>
            <a:cxnLst/>
            <a:rect l="l" t="t" r="r" b="b"/>
            <a:pathLst>
              <a:path w="17767" h="11474" extrusionOk="0">
                <a:moveTo>
                  <a:pt x="6104" y="1"/>
                </a:moveTo>
                <a:cubicBezTo>
                  <a:pt x="5988" y="1"/>
                  <a:pt x="5875" y="3"/>
                  <a:pt x="5764" y="9"/>
                </a:cubicBezTo>
                <a:cubicBezTo>
                  <a:pt x="5131" y="41"/>
                  <a:pt x="4497" y="9"/>
                  <a:pt x="3864" y="104"/>
                </a:cubicBezTo>
                <a:cubicBezTo>
                  <a:pt x="3231" y="167"/>
                  <a:pt x="2597" y="199"/>
                  <a:pt x="1964" y="357"/>
                </a:cubicBezTo>
                <a:cubicBezTo>
                  <a:pt x="1330" y="484"/>
                  <a:pt x="697" y="611"/>
                  <a:pt x="64" y="769"/>
                </a:cubicBezTo>
                <a:cubicBezTo>
                  <a:pt x="32" y="769"/>
                  <a:pt x="32" y="769"/>
                  <a:pt x="0" y="801"/>
                </a:cubicBezTo>
                <a:lnTo>
                  <a:pt x="3769" y="9351"/>
                </a:lnTo>
                <a:cubicBezTo>
                  <a:pt x="3832" y="9320"/>
                  <a:pt x="3864" y="9320"/>
                  <a:pt x="3927" y="9288"/>
                </a:cubicBezTo>
                <a:cubicBezTo>
                  <a:pt x="4276" y="9193"/>
                  <a:pt x="4624" y="9130"/>
                  <a:pt x="5004" y="9035"/>
                </a:cubicBezTo>
                <a:cubicBezTo>
                  <a:pt x="5352" y="8940"/>
                  <a:pt x="5732" y="8940"/>
                  <a:pt x="6081" y="8876"/>
                </a:cubicBezTo>
                <a:cubicBezTo>
                  <a:pt x="6461" y="8813"/>
                  <a:pt x="6809" y="8813"/>
                  <a:pt x="7126" y="8813"/>
                </a:cubicBezTo>
                <a:cubicBezTo>
                  <a:pt x="8488" y="8813"/>
                  <a:pt x="9818" y="9098"/>
                  <a:pt x="11053" y="9668"/>
                </a:cubicBezTo>
                <a:cubicBezTo>
                  <a:pt x="11971" y="10111"/>
                  <a:pt x="12826" y="10745"/>
                  <a:pt x="13586" y="11473"/>
                </a:cubicBezTo>
                <a:lnTo>
                  <a:pt x="17767" y="4664"/>
                </a:lnTo>
                <a:cubicBezTo>
                  <a:pt x="16943" y="3873"/>
                  <a:pt x="16025" y="3176"/>
                  <a:pt x="15012" y="2542"/>
                </a:cubicBezTo>
                <a:cubicBezTo>
                  <a:pt x="12858" y="1212"/>
                  <a:pt x="10325" y="357"/>
                  <a:pt x="7696" y="104"/>
                </a:cubicBezTo>
                <a:cubicBezTo>
                  <a:pt x="7179" y="52"/>
                  <a:pt x="6619" y="1"/>
                  <a:pt x="6104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76" name="Google Shape;1476;p40"/>
          <p:cNvSpPr/>
          <p:nvPr/>
        </p:nvSpPr>
        <p:spPr>
          <a:xfrm>
            <a:off x="9137632" y="956529"/>
            <a:ext cx="1823091" cy="1182862"/>
          </a:xfrm>
          <a:custGeom>
            <a:avLst/>
            <a:gdLst/>
            <a:ahLst/>
            <a:cxnLst/>
            <a:rect l="l" t="t" r="r" b="b"/>
            <a:pathLst>
              <a:path w="42722" h="27719" extrusionOk="0">
                <a:moveTo>
                  <a:pt x="14303" y="0"/>
                </a:moveTo>
                <a:cubicBezTo>
                  <a:pt x="9437" y="0"/>
                  <a:pt x="4634" y="749"/>
                  <a:pt x="0" y="2035"/>
                </a:cubicBezTo>
                <a:lnTo>
                  <a:pt x="9153" y="22810"/>
                </a:lnTo>
                <a:cubicBezTo>
                  <a:pt x="11148" y="22271"/>
                  <a:pt x="13270" y="21891"/>
                  <a:pt x="15423" y="21765"/>
                </a:cubicBezTo>
                <a:cubicBezTo>
                  <a:pt x="15912" y="21733"/>
                  <a:pt x="16400" y="21717"/>
                  <a:pt x="16888" y="21717"/>
                </a:cubicBezTo>
                <a:cubicBezTo>
                  <a:pt x="19343" y="21717"/>
                  <a:pt x="21786" y="22117"/>
                  <a:pt x="24164" y="22936"/>
                </a:cubicBezTo>
                <a:cubicBezTo>
                  <a:pt x="27014" y="23918"/>
                  <a:pt x="29706" y="25501"/>
                  <a:pt x="32018" y="27655"/>
                </a:cubicBezTo>
                <a:lnTo>
                  <a:pt x="32081" y="27718"/>
                </a:lnTo>
                <a:lnTo>
                  <a:pt x="42722" y="10427"/>
                </a:lnTo>
                <a:cubicBezTo>
                  <a:pt x="39523" y="7672"/>
                  <a:pt x="35913" y="5360"/>
                  <a:pt x="32049" y="3682"/>
                </a:cubicBezTo>
                <a:cubicBezTo>
                  <a:pt x="26729" y="1306"/>
                  <a:pt x="20870" y="71"/>
                  <a:pt x="15170" y="8"/>
                </a:cubicBezTo>
                <a:cubicBezTo>
                  <a:pt x="14880" y="3"/>
                  <a:pt x="14592" y="0"/>
                  <a:pt x="14303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15%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77" name="Google Shape;1477;p40"/>
          <p:cNvSpPr/>
          <p:nvPr/>
        </p:nvSpPr>
        <p:spPr>
          <a:xfrm>
            <a:off x="7530769" y="3085333"/>
            <a:ext cx="1682567" cy="2243379"/>
          </a:xfrm>
          <a:custGeom>
            <a:avLst/>
            <a:gdLst/>
            <a:ahLst/>
            <a:cxnLst/>
            <a:rect l="l" t="t" r="r" b="b"/>
            <a:pathLst>
              <a:path w="39429" h="52571" extrusionOk="0">
                <a:moveTo>
                  <a:pt x="25368" y="0"/>
                </a:moveTo>
                <a:lnTo>
                  <a:pt x="1" y="1901"/>
                </a:lnTo>
                <a:cubicBezTo>
                  <a:pt x="1" y="2249"/>
                  <a:pt x="32" y="2597"/>
                  <a:pt x="32" y="2914"/>
                </a:cubicBezTo>
                <a:cubicBezTo>
                  <a:pt x="64" y="3959"/>
                  <a:pt x="127" y="5004"/>
                  <a:pt x="159" y="6049"/>
                </a:cubicBezTo>
                <a:cubicBezTo>
                  <a:pt x="222" y="7063"/>
                  <a:pt x="191" y="8076"/>
                  <a:pt x="381" y="9089"/>
                </a:cubicBezTo>
                <a:cubicBezTo>
                  <a:pt x="634" y="11085"/>
                  <a:pt x="887" y="13080"/>
                  <a:pt x="1267" y="15012"/>
                </a:cubicBezTo>
                <a:cubicBezTo>
                  <a:pt x="1711" y="16912"/>
                  <a:pt x="2186" y="18748"/>
                  <a:pt x="2661" y="20554"/>
                </a:cubicBezTo>
                <a:cubicBezTo>
                  <a:pt x="3231" y="22327"/>
                  <a:pt x="3864" y="24037"/>
                  <a:pt x="4498" y="25716"/>
                </a:cubicBezTo>
                <a:cubicBezTo>
                  <a:pt x="4751" y="26571"/>
                  <a:pt x="5194" y="27362"/>
                  <a:pt x="5543" y="28154"/>
                </a:cubicBezTo>
                <a:cubicBezTo>
                  <a:pt x="5923" y="28914"/>
                  <a:pt x="6303" y="29706"/>
                  <a:pt x="6651" y="30466"/>
                </a:cubicBezTo>
                <a:cubicBezTo>
                  <a:pt x="9723" y="36483"/>
                  <a:pt x="13682" y="41930"/>
                  <a:pt x="18337" y="46585"/>
                </a:cubicBezTo>
                <a:cubicBezTo>
                  <a:pt x="20554" y="48739"/>
                  <a:pt x="22897" y="50766"/>
                  <a:pt x="25336" y="52571"/>
                </a:cubicBezTo>
                <a:lnTo>
                  <a:pt x="39429" y="28534"/>
                </a:lnTo>
                <a:cubicBezTo>
                  <a:pt x="29643" y="21440"/>
                  <a:pt x="26666" y="10800"/>
                  <a:pt x="26698" y="10768"/>
                </a:cubicBezTo>
                <a:lnTo>
                  <a:pt x="26698" y="10768"/>
                </a:lnTo>
                <a:lnTo>
                  <a:pt x="26634" y="10800"/>
                </a:lnTo>
                <a:cubicBezTo>
                  <a:pt x="26539" y="10420"/>
                  <a:pt x="26444" y="10071"/>
                  <a:pt x="26349" y="9660"/>
                </a:cubicBezTo>
                <a:cubicBezTo>
                  <a:pt x="26096" y="8519"/>
                  <a:pt x="25938" y="7348"/>
                  <a:pt x="25716" y="6144"/>
                </a:cubicBezTo>
                <a:cubicBezTo>
                  <a:pt x="25558" y="5574"/>
                  <a:pt x="25589" y="4941"/>
                  <a:pt x="25526" y="4307"/>
                </a:cubicBezTo>
                <a:cubicBezTo>
                  <a:pt x="25494" y="3706"/>
                  <a:pt x="25431" y="3072"/>
                  <a:pt x="25399" y="2439"/>
                </a:cubicBezTo>
                <a:cubicBezTo>
                  <a:pt x="25304" y="1774"/>
                  <a:pt x="25336" y="1204"/>
                  <a:pt x="25368" y="602"/>
                </a:cubicBezTo>
                <a:cubicBezTo>
                  <a:pt x="25368" y="412"/>
                  <a:pt x="25368" y="191"/>
                  <a:pt x="25368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20%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79" name="Google Shape;1479;p40"/>
          <p:cNvSpPr/>
          <p:nvPr/>
        </p:nvSpPr>
        <p:spPr>
          <a:xfrm>
            <a:off x="9579515" y="3000199"/>
            <a:ext cx="283863" cy="363577"/>
          </a:xfrm>
          <a:custGeom>
            <a:avLst/>
            <a:gdLst/>
            <a:ahLst/>
            <a:cxnLst/>
            <a:rect l="l" t="t" r="r" b="b"/>
            <a:pathLst>
              <a:path w="6652" h="8520" extrusionOk="0">
                <a:moveTo>
                  <a:pt x="3801" y="0"/>
                </a:moveTo>
                <a:lnTo>
                  <a:pt x="1" y="285"/>
                </a:lnTo>
                <a:cubicBezTo>
                  <a:pt x="1" y="1172"/>
                  <a:pt x="159" y="2027"/>
                  <a:pt x="381" y="2914"/>
                </a:cubicBezTo>
                <a:cubicBezTo>
                  <a:pt x="983" y="5067"/>
                  <a:pt x="2376" y="7094"/>
                  <a:pt x="4340" y="8519"/>
                </a:cubicBezTo>
                <a:lnTo>
                  <a:pt x="6651" y="4561"/>
                </a:lnTo>
                <a:cubicBezTo>
                  <a:pt x="5575" y="3864"/>
                  <a:pt x="4688" y="2819"/>
                  <a:pt x="4213" y="1615"/>
                </a:cubicBezTo>
                <a:cubicBezTo>
                  <a:pt x="3991" y="1109"/>
                  <a:pt x="3865" y="539"/>
                  <a:pt x="3801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80" name="Google Shape;1480;p40"/>
          <p:cNvSpPr/>
          <p:nvPr/>
        </p:nvSpPr>
        <p:spPr>
          <a:xfrm>
            <a:off x="9840378" y="2990726"/>
            <a:ext cx="94607" cy="116285"/>
          </a:xfrm>
          <a:custGeom>
            <a:avLst/>
            <a:gdLst/>
            <a:ahLst/>
            <a:cxnLst/>
            <a:rect l="l" t="t" r="r" b="b"/>
            <a:pathLst>
              <a:path w="2217" h="2725" extrusionOk="0">
                <a:moveTo>
                  <a:pt x="538" y="1"/>
                </a:moveTo>
                <a:lnTo>
                  <a:pt x="0" y="64"/>
                </a:lnTo>
                <a:cubicBezTo>
                  <a:pt x="32" y="349"/>
                  <a:pt x="127" y="666"/>
                  <a:pt x="253" y="982"/>
                </a:cubicBezTo>
                <a:cubicBezTo>
                  <a:pt x="538" y="1647"/>
                  <a:pt x="1045" y="2281"/>
                  <a:pt x="1742" y="2724"/>
                </a:cubicBezTo>
                <a:lnTo>
                  <a:pt x="1774" y="2724"/>
                </a:lnTo>
                <a:lnTo>
                  <a:pt x="2217" y="1964"/>
                </a:lnTo>
                <a:cubicBezTo>
                  <a:pt x="1615" y="1711"/>
                  <a:pt x="1109" y="1236"/>
                  <a:pt x="823" y="697"/>
                </a:cubicBezTo>
                <a:cubicBezTo>
                  <a:pt x="697" y="476"/>
                  <a:pt x="602" y="254"/>
                  <a:pt x="538" y="1"/>
                </a:cubicBezTo>
                <a:close/>
              </a:path>
            </a:pathLst>
          </a:custGeom>
          <a:gradFill>
            <a:gsLst>
              <a:gs pos="0">
                <a:srgbClr val="FFAB40"/>
              </a:gs>
              <a:gs pos="100000">
                <a:srgbClr val="F8615A"/>
              </a:gs>
            </a:gsLst>
            <a:lin ang="3599321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81" name="Google Shape;1481;p40"/>
          <p:cNvSpPr/>
          <p:nvPr/>
        </p:nvSpPr>
        <p:spPr>
          <a:xfrm>
            <a:off x="10049818" y="2988035"/>
            <a:ext cx="158191" cy="132458"/>
          </a:xfrm>
          <a:custGeom>
            <a:avLst/>
            <a:gdLst/>
            <a:ahLst/>
            <a:cxnLst/>
            <a:rect l="l" t="t" r="r" b="b"/>
            <a:pathLst>
              <a:path w="3707" h="3104" extrusionOk="0">
                <a:moveTo>
                  <a:pt x="2028" y="0"/>
                </a:moveTo>
                <a:cubicBezTo>
                  <a:pt x="1648" y="950"/>
                  <a:pt x="888" y="1710"/>
                  <a:pt x="1" y="2059"/>
                </a:cubicBezTo>
                <a:lnTo>
                  <a:pt x="634" y="3104"/>
                </a:lnTo>
                <a:cubicBezTo>
                  <a:pt x="1204" y="2914"/>
                  <a:pt x="1711" y="2629"/>
                  <a:pt x="2186" y="2217"/>
                </a:cubicBezTo>
                <a:cubicBezTo>
                  <a:pt x="2851" y="1679"/>
                  <a:pt x="3389" y="950"/>
                  <a:pt x="3706" y="64"/>
                </a:cubicBezTo>
                <a:lnTo>
                  <a:pt x="2028" y="0"/>
                </a:lnTo>
                <a:close/>
              </a:path>
            </a:pathLst>
          </a:custGeom>
          <a:gradFill>
            <a:gsLst>
              <a:gs pos="0">
                <a:srgbClr val="B80D57"/>
              </a:gs>
              <a:gs pos="100000">
                <a:srgbClr val="5B1A5B"/>
              </a:gs>
            </a:gsLst>
            <a:lin ang="18900044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82" name="Google Shape;1482;p40"/>
          <p:cNvSpPr/>
          <p:nvPr/>
        </p:nvSpPr>
        <p:spPr>
          <a:xfrm>
            <a:off x="10134951" y="2994778"/>
            <a:ext cx="473077" cy="417644"/>
          </a:xfrm>
          <a:custGeom>
            <a:avLst/>
            <a:gdLst/>
            <a:ahLst/>
            <a:cxnLst/>
            <a:rect l="l" t="t" r="r" b="b"/>
            <a:pathLst>
              <a:path w="11086" h="9787" extrusionOk="0">
                <a:moveTo>
                  <a:pt x="4435" y="1"/>
                </a:moveTo>
                <a:cubicBezTo>
                  <a:pt x="4181" y="1014"/>
                  <a:pt x="3675" y="1964"/>
                  <a:pt x="3010" y="2788"/>
                </a:cubicBezTo>
                <a:cubicBezTo>
                  <a:pt x="2249" y="3801"/>
                  <a:pt x="1173" y="4529"/>
                  <a:pt x="33" y="5036"/>
                </a:cubicBezTo>
                <a:cubicBezTo>
                  <a:pt x="33" y="5036"/>
                  <a:pt x="1" y="5068"/>
                  <a:pt x="1" y="5068"/>
                </a:cubicBezTo>
                <a:lnTo>
                  <a:pt x="3010" y="9786"/>
                </a:lnTo>
                <a:cubicBezTo>
                  <a:pt x="4593" y="9121"/>
                  <a:pt x="6113" y="8171"/>
                  <a:pt x="7380" y="6873"/>
                </a:cubicBezTo>
                <a:cubicBezTo>
                  <a:pt x="8963" y="5289"/>
                  <a:pt x="10230" y="3294"/>
                  <a:pt x="10863" y="1046"/>
                </a:cubicBezTo>
                <a:cubicBezTo>
                  <a:pt x="10958" y="792"/>
                  <a:pt x="11022" y="539"/>
                  <a:pt x="11085" y="286"/>
                </a:cubicBezTo>
                <a:lnTo>
                  <a:pt x="4435" y="1"/>
                </a:lnTo>
                <a:close/>
              </a:path>
            </a:pathLst>
          </a:custGeom>
          <a:gradFill>
            <a:gsLst>
              <a:gs pos="0">
                <a:srgbClr val="B80D57"/>
              </a:gs>
              <a:gs pos="100000">
                <a:srgbClr val="5B1A5B"/>
              </a:gs>
            </a:gsLst>
            <a:lin ang="18900044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83" name="Google Shape;1483;p40"/>
          <p:cNvSpPr/>
          <p:nvPr/>
        </p:nvSpPr>
        <p:spPr>
          <a:xfrm>
            <a:off x="10352542" y="3013725"/>
            <a:ext cx="1200103" cy="1096022"/>
          </a:xfrm>
          <a:custGeom>
            <a:avLst/>
            <a:gdLst/>
            <a:ahLst/>
            <a:cxnLst/>
            <a:rect l="l" t="t" r="r" b="b"/>
            <a:pathLst>
              <a:path w="28123" h="25684" extrusionOk="0">
                <a:moveTo>
                  <a:pt x="10578" y="0"/>
                </a:moveTo>
                <a:cubicBezTo>
                  <a:pt x="10515" y="380"/>
                  <a:pt x="10420" y="760"/>
                  <a:pt x="10293" y="1140"/>
                </a:cubicBezTo>
                <a:cubicBezTo>
                  <a:pt x="9913" y="2629"/>
                  <a:pt x="9216" y="4022"/>
                  <a:pt x="8425" y="5384"/>
                </a:cubicBezTo>
                <a:cubicBezTo>
                  <a:pt x="7981" y="6049"/>
                  <a:pt x="7601" y="6714"/>
                  <a:pt x="7063" y="7316"/>
                </a:cubicBezTo>
                <a:cubicBezTo>
                  <a:pt x="6620" y="7949"/>
                  <a:pt x="6018" y="8487"/>
                  <a:pt x="5479" y="9057"/>
                </a:cubicBezTo>
                <a:cubicBezTo>
                  <a:pt x="4308" y="10134"/>
                  <a:pt x="3041" y="11179"/>
                  <a:pt x="1616" y="11876"/>
                </a:cubicBezTo>
                <a:cubicBezTo>
                  <a:pt x="1109" y="12224"/>
                  <a:pt x="571" y="12446"/>
                  <a:pt x="1" y="12668"/>
                </a:cubicBezTo>
                <a:lnTo>
                  <a:pt x="8266" y="25684"/>
                </a:lnTo>
                <a:cubicBezTo>
                  <a:pt x="10958" y="24575"/>
                  <a:pt x="13428" y="22992"/>
                  <a:pt x="15740" y="21218"/>
                </a:cubicBezTo>
                <a:cubicBezTo>
                  <a:pt x="16880" y="20268"/>
                  <a:pt x="18052" y="19318"/>
                  <a:pt x="19034" y="18210"/>
                </a:cubicBezTo>
                <a:cubicBezTo>
                  <a:pt x="20111" y="17165"/>
                  <a:pt x="21029" y="15993"/>
                  <a:pt x="21979" y="14789"/>
                </a:cubicBezTo>
                <a:cubicBezTo>
                  <a:pt x="23721" y="12351"/>
                  <a:pt x="25273" y="9754"/>
                  <a:pt x="26349" y="6904"/>
                </a:cubicBezTo>
                <a:cubicBezTo>
                  <a:pt x="26951" y="5510"/>
                  <a:pt x="27331" y="4022"/>
                  <a:pt x="27743" y="2565"/>
                </a:cubicBezTo>
                <a:cubicBezTo>
                  <a:pt x="27933" y="1964"/>
                  <a:pt x="28028" y="1330"/>
                  <a:pt x="28123" y="697"/>
                </a:cubicBezTo>
                <a:lnTo>
                  <a:pt x="10578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5%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84" name="Google Shape;1484;p40"/>
          <p:cNvSpPr/>
          <p:nvPr/>
        </p:nvSpPr>
        <p:spPr>
          <a:xfrm>
            <a:off x="10097142" y="2723164"/>
            <a:ext cx="125716" cy="266239"/>
          </a:xfrm>
          <a:custGeom>
            <a:avLst/>
            <a:gdLst/>
            <a:ahLst/>
            <a:cxnLst/>
            <a:rect l="l" t="t" r="r" b="b"/>
            <a:pathLst>
              <a:path w="2946" h="6239" extrusionOk="0">
                <a:moveTo>
                  <a:pt x="1172" y="0"/>
                </a:moveTo>
                <a:lnTo>
                  <a:pt x="0" y="1932"/>
                </a:lnTo>
                <a:lnTo>
                  <a:pt x="0" y="1964"/>
                </a:lnTo>
                <a:cubicBezTo>
                  <a:pt x="824" y="2882"/>
                  <a:pt x="1235" y="4117"/>
                  <a:pt x="1140" y="5257"/>
                </a:cubicBezTo>
                <a:cubicBezTo>
                  <a:pt x="1109" y="5574"/>
                  <a:pt x="1045" y="5891"/>
                  <a:pt x="919" y="6176"/>
                </a:cubicBezTo>
                <a:lnTo>
                  <a:pt x="2597" y="6239"/>
                </a:lnTo>
                <a:cubicBezTo>
                  <a:pt x="2692" y="6017"/>
                  <a:pt x="2755" y="5764"/>
                  <a:pt x="2819" y="5511"/>
                </a:cubicBezTo>
                <a:cubicBezTo>
                  <a:pt x="2945" y="4909"/>
                  <a:pt x="2945" y="4276"/>
                  <a:pt x="2882" y="3674"/>
                </a:cubicBezTo>
                <a:cubicBezTo>
                  <a:pt x="2819" y="3072"/>
                  <a:pt x="2660" y="2439"/>
                  <a:pt x="2375" y="1837"/>
                </a:cubicBezTo>
                <a:cubicBezTo>
                  <a:pt x="2090" y="1172"/>
                  <a:pt x="1679" y="570"/>
                  <a:pt x="1172" y="0"/>
                </a:cubicBezTo>
                <a:close/>
              </a:path>
            </a:pathLst>
          </a:custGeom>
          <a:gradFill>
            <a:gsLst>
              <a:gs pos="0">
                <a:srgbClr val="5B1A5B"/>
              </a:gs>
              <a:gs pos="100000">
                <a:srgbClr val="3C0A3C"/>
              </a:gs>
            </a:gsLst>
            <a:lin ang="10801400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85" name="Google Shape;1485;p40"/>
          <p:cNvSpPr/>
          <p:nvPr/>
        </p:nvSpPr>
        <p:spPr>
          <a:xfrm>
            <a:off x="10210654" y="2331252"/>
            <a:ext cx="413591" cy="674409"/>
          </a:xfrm>
          <a:custGeom>
            <a:avLst/>
            <a:gdLst/>
            <a:ahLst/>
            <a:cxnLst/>
            <a:rect l="l" t="t" r="r" b="b"/>
            <a:pathLst>
              <a:path w="9692" h="15804" extrusionOk="0">
                <a:moveTo>
                  <a:pt x="4181" y="0"/>
                </a:moveTo>
                <a:lnTo>
                  <a:pt x="0" y="6809"/>
                </a:lnTo>
                <a:cubicBezTo>
                  <a:pt x="1204" y="7981"/>
                  <a:pt x="2091" y="9469"/>
                  <a:pt x="2566" y="11084"/>
                </a:cubicBezTo>
                <a:lnTo>
                  <a:pt x="2787" y="12066"/>
                </a:lnTo>
                <a:lnTo>
                  <a:pt x="2914" y="13111"/>
                </a:lnTo>
                <a:cubicBezTo>
                  <a:pt x="2914" y="13713"/>
                  <a:pt x="2946" y="14346"/>
                  <a:pt x="2787" y="14948"/>
                </a:cubicBezTo>
                <a:cubicBezTo>
                  <a:pt x="2756" y="15170"/>
                  <a:pt x="2724" y="15360"/>
                  <a:pt x="2661" y="15550"/>
                </a:cubicBezTo>
                <a:lnTo>
                  <a:pt x="9311" y="15803"/>
                </a:lnTo>
                <a:cubicBezTo>
                  <a:pt x="9533" y="14916"/>
                  <a:pt x="9628" y="13998"/>
                  <a:pt x="9691" y="13080"/>
                </a:cubicBezTo>
                <a:cubicBezTo>
                  <a:pt x="9691" y="12509"/>
                  <a:pt x="9659" y="11939"/>
                  <a:pt x="9659" y="11369"/>
                </a:cubicBezTo>
                <a:cubicBezTo>
                  <a:pt x="9596" y="10799"/>
                  <a:pt x="9533" y="10198"/>
                  <a:pt x="9438" y="9628"/>
                </a:cubicBezTo>
                <a:cubicBezTo>
                  <a:pt x="8868" y="6081"/>
                  <a:pt x="6999" y="2597"/>
                  <a:pt x="4181" y="0"/>
                </a:cubicBezTo>
                <a:close/>
              </a:path>
            </a:pathLst>
          </a:custGeom>
          <a:gradFill>
            <a:gsLst>
              <a:gs pos="0">
                <a:srgbClr val="5B1A5B"/>
              </a:gs>
              <a:gs pos="100000">
                <a:srgbClr val="3C0A3C"/>
              </a:gs>
            </a:gsLst>
            <a:lin ang="10801400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86" name="Google Shape;1486;p40"/>
          <p:cNvSpPr/>
          <p:nvPr/>
        </p:nvSpPr>
        <p:spPr>
          <a:xfrm>
            <a:off x="10506593" y="1401486"/>
            <a:ext cx="1075795" cy="1640661"/>
          </a:xfrm>
          <a:custGeom>
            <a:avLst/>
            <a:gdLst/>
            <a:ahLst/>
            <a:cxnLst/>
            <a:rect l="l" t="t" r="r" b="b"/>
            <a:pathLst>
              <a:path w="25210" h="38447" extrusionOk="0">
                <a:moveTo>
                  <a:pt x="10642" y="0"/>
                </a:moveTo>
                <a:lnTo>
                  <a:pt x="1" y="17291"/>
                </a:lnTo>
                <a:cubicBezTo>
                  <a:pt x="2249" y="19413"/>
                  <a:pt x="4150" y="22042"/>
                  <a:pt x="5416" y="24955"/>
                </a:cubicBezTo>
                <a:lnTo>
                  <a:pt x="5923" y="26064"/>
                </a:lnTo>
                <a:lnTo>
                  <a:pt x="6271" y="27235"/>
                </a:lnTo>
                <a:cubicBezTo>
                  <a:pt x="6366" y="27615"/>
                  <a:pt x="6525" y="28027"/>
                  <a:pt x="6620" y="28407"/>
                </a:cubicBezTo>
                <a:lnTo>
                  <a:pt x="6873" y="29610"/>
                </a:lnTo>
                <a:cubicBezTo>
                  <a:pt x="6936" y="30022"/>
                  <a:pt x="7095" y="30402"/>
                  <a:pt x="7126" y="30814"/>
                </a:cubicBezTo>
                <a:lnTo>
                  <a:pt x="7222" y="32081"/>
                </a:lnTo>
                <a:cubicBezTo>
                  <a:pt x="7253" y="32461"/>
                  <a:pt x="7380" y="32936"/>
                  <a:pt x="7348" y="33284"/>
                </a:cubicBezTo>
                <a:lnTo>
                  <a:pt x="7348" y="34424"/>
                </a:lnTo>
                <a:cubicBezTo>
                  <a:pt x="7380" y="34804"/>
                  <a:pt x="7317" y="35184"/>
                  <a:pt x="7285" y="35564"/>
                </a:cubicBezTo>
                <a:cubicBezTo>
                  <a:pt x="7253" y="35944"/>
                  <a:pt x="7253" y="36324"/>
                  <a:pt x="7190" y="36704"/>
                </a:cubicBezTo>
                <a:cubicBezTo>
                  <a:pt x="7095" y="37053"/>
                  <a:pt x="7031" y="37401"/>
                  <a:pt x="6968" y="37781"/>
                </a:cubicBezTo>
                <a:lnTo>
                  <a:pt x="24544" y="38446"/>
                </a:lnTo>
                <a:cubicBezTo>
                  <a:pt x="24544" y="38319"/>
                  <a:pt x="24576" y="38224"/>
                  <a:pt x="24608" y="38098"/>
                </a:cubicBezTo>
                <a:cubicBezTo>
                  <a:pt x="24735" y="37338"/>
                  <a:pt x="24893" y="36609"/>
                  <a:pt x="24925" y="35849"/>
                </a:cubicBezTo>
                <a:lnTo>
                  <a:pt x="25115" y="33569"/>
                </a:lnTo>
                <a:cubicBezTo>
                  <a:pt x="25210" y="32777"/>
                  <a:pt x="25146" y="32081"/>
                  <a:pt x="25146" y="31352"/>
                </a:cubicBezTo>
                <a:lnTo>
                  <a:pt x="25083" y="29167"/>
                </a:lnTo>
                <a:cubicBezTo>
                  <a:pt x="25083" y="28439"/>
                  <a:pt x="24956" y="27710"/>
                  <a:pt x="24893" y="26982"/>
                </a:cubicBezTo>
                <a:lnTo>
                  <a:pt x="24608" y="24828"/>
                </a:lnTo>
                <a:cubicBezTo>
                  <a:pt x="24513" y="24100"/>
                  <a:pt x="24323" y="23403"/>
                  <a:pt x="24164" y="22675"/>
                </a:cubicBezTo>
                <a:lnTo>
                  <a:pt x="23658" y="20553"/>
                </a:lnTo>
                <a:lnTo>
                  <a:pt x="22993" y="18463"/>
                </a:lnTo>
                <a:cubicBezTo>
                  <a:pt x="21124" y="12889"/>
                  <a:pt x="18084" y="7727"/>
                  <a:pt x="14125" y="3420"/>
                </a:cubicBezTo>
                <a:cubicBezTo>
                  <a:pt x="13049" y="2217"/>
                  <a:pt x="11877" y="1077"/>
                  <a:pt x="10642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10%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87" name="Google Shape;1487;p40"/>
          <p:cNvSpPr/>
          <p:nvPr/>
        </p:nvSpPr>
        <p:spPr>
          <a:xfrm>
            <a:off x="7530767" y="1043327"/>
            <a:ext cx="1997455" cy="2123126"/>
          </a:xfrm>
          <a:custGeom>
            <a:avLst/>
            <a:gdLst/>
            <a:ahLst/>
            <a:cxnLst/>
            <a:rect l="l" t="t" r="r" b="b"/>
            <a:pathLst>
              <a:path w="46808" h="49753" extrusionOk="0">
                <a:moveTo>
                  <a:pt x="37655" y="1"/>
                </a:moveTo>
                <a:cubicBezTo>
                  <a:pt x="37370" y="64"/>
                  <a:pt x="37053" y="159"/>
                  <a:pt x="36768" y="254"/>
                </a:cubicBezTo>
                <a:cubicBezTo>
                  <a:pt x="31575" y="1774"/>
                  <a:pt x="26824" y="4276"/>
                  <a:pt x="22517" y="7221"/>
                </a:cubicBezTo>
                <a:lnTo>
                  <a:pt x="20902" y="8361"/>
                </a:lnTo>
                <a:cubicBezTo>
                  <a:pt x="20396" y="8741"/>
                  <a:pt x="19857" y="9121"/>
                  <a:pt x="19382" y="9533"/>
                </a:cubicBezTo>
                <a:cubicBezTo>
                  <a:pt x="18400" y="10388"/>
                  <a:pt x="17419" y="11243"/>
                  <a:pt x="16469" y="12098"/>
                </a:cubicBezTo>
                <a:cubicBezTo>
                  <a:pt x="15519" y="12985"/>
                  <a:pt x="14663" y="13903"/>
                  <a:pt x="13777" y="14822"/>
                </a:cubicBezTo>
                <a:cubicBezTo>
                  <a:pt x="13365" y="15297"/>
                  <a:pt x="12890" y="15740"/>
                  <a:pt x="12510" y="16247"/>
                </a:cubicBezTo>
                <a:lnTo>
                  <a:pt x="11338" y="17735"/>
                </a:lnTo>
                <a:lnTo>
                  <a:pt x="10166" y="19224"/>
                </a:lnTo>
                <a:lnTo>
                  <a:pt x="9596" y="19952"/>
                </a:lnTo>
                <a:lnTo>
                  <a:pt x="9090" y="20744"/>
                </a:lnTo>
                <a:cubicBezTo>
                  <a:pt x="8425" y="21821"/>
                  <a:pt x="7760" y="22866"/>
                  <a:pt x="7095" y="23911"/>
                </a:cubicBezTo>
                <a:cubicBezTo>
                  <a:pt x="6461" y="24956"/>
                  <a:pt x="5954" y="26096"/>
                  <a:pt x="5384" y="27173"/>
                </a:cubicBezTo>
                <a:cubicBezTo>
                  <a:pt x="5099" y="27711"/>
                  <a:pt x="4846" y="28249"/>
                  <a:pt x="4561" y="28819"/>
                </a:cubicBezTo>
                <a:cubicBezTo>
                  <a:pt x="4339" y="29358"/>
                  <a:pt x="4118" y="29928"/>
                  <a:pt x="3896" y="30498"/>
                </a:cubicBezTo>
                <a:cubicBezTo>
                  <a:pt x="3453" y="31606"/>
                  <a:pt x="3009" y="32746"/>
                  <a:pt x="2598" y="33855"/>
                </a:cubicBezTo>
                <a:cubicBezTo>
                  <a:pt x="2281" y="35027"/>
                  <a:pt x="1964" y="36167"/>
                  <a:pt x="1647" y="37307"/>
                </a:cubicBezTo>
                <a:cubicBezTo>
                  <a:pt x="1489" y="37845"/>
                  <a:pt x="1331" y="38415"/>
                  <a:pt x="1204" y="38985"/>
                </a:cubicBezTo>
                <a:cubicBezTo>
                  <a:pt x="1109" y="39555"/>
                  <a:pt x="1014" y="40125"/>
                  <a:pt x="919" y="40695"/>
                </a:cubicBezTo>
                <a:cubicBezTo>
                  <a:pt x="729" y="41867"/>
                  <a:pt x="539" y="42975"/>
                  <a:pt x="349" y="44116"/>
                </a:cubicBezTo>
                <a:cubicBezTo>
                  <a:pt x="286" y="45256"/>
                  <a:pt x="191" y="46364"/>
                  <a:pt x="127" y="47504"/>
                </a:cubicBezTo>
                <a:cubicBezTo>
                  <a:pt x="64" y="48264"/>
                  <a:pt x="1" y="49024"/>
                  <a:pt x="1" y="49753"/>
                </a:cubicBezTo>
                <a:lnTo>
                  <a:pt x="25368" y="47916"/>
                </a:lnTo>
                <a:lnTo>
                  <a:pt x="25368" y="47852"/>
                </a:lnTo>
                <a:cubicBezTo>
                  <a:pt x="25368" y="47441"/>
                  <a:pt x="25368" y="47061"/>
                  <a:pt x="25368" y="46649"/>
                </a:cubicBezTo>
                <a:cubicBezTo>
                  <a:pt x="25463" y="46079"/>
                  <a:pt x="25558" y="45477"/>
                  <a:pt x="25621" y="44844"/>
                </a:cubicBezTo>
                <a:lnTo>
                  <a:pt x="25716" y="43926"/>
                </a:lnTo>
                <a:cubicBezTo>
                  <a:pt x="25779" y="43641"/>
                  <a:pt x="25843" y="43324"/>
                  <a:pt x="25938" y="43039"/>
                </a:cubicBezTo>
                <a:cubicBezTo>
                  <a:pt x="26064" y="42437"/>
                  <a:pt x="26191" y="41804"/>
                  <a:pt x="26318" y="41202"/>
                </a:cubicBezTo>
                <a:cubicBezTo>
                  <a:pt x="26508" y="40600"/>
                  <a:pt x="26729" y="39967"/>
                  <a:pt x="26919" y="39365"/>
                </a:cubicBezTo>
                <a:cubicBezTo>
                  <a:pt x="27014" y="39080"/>
                  <a:pt x="27109" y="38764"/>
                  <a:pt x="27236" y="38447"/>
                </a:cubicBezTo>
                <a:lnTo>
                  <a:pt x="27616" y="37560"/>
                </a:lnTo>
                <a:cubicBezTo>
                  <a:pt x="27901" y="36958"/>
                  <a:pt x="28123" y="36357"/>
                  <a:pt x="28439" y="35755"/>
                </a:cubicBezTo>
                <a:cubicBezTo>
                  <a:pt x="28756" y="35185"/>
                  <a:pt x="29105" y="34583"/>
                  <a:pt x="29421" y="33982"/>
                </a:cubicBezTo>
                <a:lnTo>
                  <a:pt x="29675" y="33538"/>
                </a:lnTo>
                <a:lnTo>
                  <a:pt x="29960" y="33126"/>
                </a:lnTo>
                <a:lnTo>
                  <a:pt x="30561" y="32303"/>
                </a:lnTo>
                <a:lnTo>
                  <a:pt x="31131" y="31448"/>
                </a:lnTo>
                <a:cubicBezTo>
                  <a:pt x="31321" y="31131"/>
                  <a:pt x="31575" y="30910"/>
                  <a:pt x="31796" y="30625"/>
                </a:cubicBezTo>
                <a:cubicBezTo>
                  <a:pt x="32240" y="30118"/>
                  <a:pt x="32683" y="29548"/>
                  <a:pt x="33158" y="29041"/>
                </a:cubicBezTo>
                <a:cubicBezTo>
                  <a:pt x="33665" y="28534"/>
                  <a:pt x="34172" y="28028"/>
                  <a:pt x="34678" y="27521"/>
                </a:cubicBezTo>
                <a:cubicBezTo>
                  <a:pt x="34900" y="27268"/>
                  <a:pt x="35217" y="27046"/>
                  <a:pt x="35470" y="26793"/>
                </a:cubicBezTo>
                <a:lnTo>
                  <a:pt x="36325" y="26128"/>
                </a:lnTo>
                <a:cubicBezTo>
                  <a:pt x="39302" y="23689"/>
                  <a:pt x="42849" y="21852"/>
                  <a:pt x="46776" y="20776"/>
                </a:cubicBezTo>
                <a:lnTo>
                  <a:pt x="46808" y="20776"/>
                </a:lnTo>
                <a:lnTo>
                  <a:pt x="37655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20%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88" name="Google Shape;1488;p40"/>
          <p:cNvSpPr/>
          <p:nvPr/>
        </p:nvSpPr>
        <p:spPr>
          <a:xfrm>
            <a:off x="8956527" y="2166362"/>
            <a:ext cx="836568" cy="896055"/>
          </a:xfrm>
          <a:custGeom>
            <a:avLst/>
            <a:gdLst/>
            <a:ahLst/>
            <a:cxnLst/>
            <a:rect l="l" t="t" r="r" b="b"/>
            <a:pathLst>
              <a:path w="19604" h="20998" extrusionOk="0">
                <a:moveTo>
                  <a:pt x="15803" y="1"/>
                </a:moveTo>
                <a:cubicBezTo>
                  <a:pt x="10800" y="1394"/>
                  <a:pt x="6208" y="4751"/>
                  <a:pt x="3294" y="9438"/>
                </a:cubicBezTo>
                <a:cubicBezTo>
                  <a:pt x="1837" y="11781"/>
                  <a:pt x="824" y="14473"/>
                  <a:pt x="317" y="17260"/>
                </a:cubicBezTo>
                <a:cubicBezTo>
                  <a:pt x="191" y="17957"/>
                  <a:pt x="127" y="18685"/>
                  <a:pt x="64" y="19382"/>
                </a:cubicBezTo>
                <a:cubicBezTo>
                  <a:pt x="32" y="19730"/>
                  <a:pt x="1" y="20110"/>
                  <a:pt x="1" y="20459"/>
                </a:cubicBezTo>
                <a:lnTo>
                  <a:pt x="1" y="20997"/>
                </a:lnTo>
                <a:lnTo>
                  <a:pt x="11306" y="20205"/>
                </a:lnTo>
                <a:cubicBezTo>
                  <a:pt x="11306" y="20142"/>
                  <a:pt x="11306" y="20110"/>
                  <a:pt x="11306" y="20079"/>
                </a:cubicBezTo>
                <a:cubicBezTo>
                  <a:pt x="11306" y="19635"/>
                  <a:pt x="11306" y="19192"/>
                  <a:pt x="11306" y="18780"/>
                </a:cubicBezTo>
                <a:cubicBezTo>
                  <a:pt x="11401" y="17355"/>
                  <a:pt x="11781" y="15930"/>
                  <a:pt x="12415" y="14663"/>
                </a:cubicBezTo>
                <a:cubicBezTo>
                  <a:pt x="13650" y="12035"/>
                  <a:pt x="15962" y="9913"/>
                  <a:pt x="18685" y="8836"/>
                </a:cubicBezTo>
                <a:cubicBezTo>
                  <a:pt x="18970" y="8741"/>
                  <a:pt x="19255" y="8646"/>
                  <a:pt x="19572" y="8551"/>
                </a:cubicBezTo>
                <a:lnTo>
                  <a:pt x="19604" y="8551"/>
                </a:lnTo>
                <a:lnTo>
                  <a:pt x="15835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89" name="Google Shape;1489;p40"/>
          <p:cNvSpPr/>
          <p:nvPr/>
        </p:nvSpPr>
        <p:spPr>
          <a:xfrm>
            <a:off x="9578191" y="2646139"/>
            <a:ext cx="316252" cy="371685"/>
          </a:xfrm>
          <a:custGeom>
            <a:avLst/>
            <a:gdLst/>
            <a:ahLst/>
            <a:cxnLst/>
            <a:rect l="l" t="t" r="r" b="b"/>
            <a:pathLst>
              <a:path w="7411" h="8710" extrusionOk="0">
                <a:moveTo>
                  <a:pt x="6176" y="0"/>
                </a:moveTo>
                <a:cubicBezTo>
                  <a:pt x="5099" y="285"/>
                  <a:pt x="4054" y="824"/>
                  <a:pt x="3136" y="1584"/>
                </a:cubicBezTo>
                <a:cubicBezTo>
                  <a:pt x="1869" y="2629"/>
                  <a:pt x="855" y="4117"/>
                  <a:pt x="349" y="5859"/>
                </a:cubicBezTo>
                <a:cubicBezTo>
                  <a:pt x="127" y="6682"/>
                  <a:pt x="0" y="7632"/>
                  <a:pt x="32" y="8519"/>
                </a:cubicBezTo>
                <a:lnTo>
                  <a:pt x="32" y="8582"/>
                </a:lnTo>
                <a:cubicBezTo>
                  <a:pt x="32" y="8614"/>
                  <a:pt x="32" y="8677"/>
                  <a:pt x="32" y="8709"/>
                </a:cubicBezTo>
                <a:lnTo>
                  <a:pt x="3832" y="8424"/>
                </a:lnTo>
                <a:cubicBezTo>
                  <a:pt x="3832" y="8392"/>
                  <a:pt x="3832" y="8329"/>
                  <a:pt x="3832" y="8297"/>
                </a:cubicBezTo>
                <a:cubicBezTo>
                  <a:pt x="3737" y="7727"/>
                  <a:pt x="3737" y="7189"/>
                  <a:pt x="3832" y="6682"/>
                </a:cubicBezTo>
                <a:cubicBezTo>
                  <a:pt x="3991" y="5637"/>
                  <a:pt x="4497" y="4687"/>
                  <a:pt x="5257" y="3959"/>
                </a:cubicBezTo>
                <a:cubicBezTo>
                  <a:pt x="5827" y="3357"/>
                  <a:pt x="6556" y="2914"/>
                  <a:pt x="7348" y="2660"/>
                </a:cubicBezTo>
                <a:cubicBezTo>
                  <a:pt x="7379" y="2629"/>
                  <a:pt x="7379" y="2629"/>
                  <a:pt x="7411" y="2629"/>
                </a:cubicBezTo>
                <a:lnTo>
                  <a:pt x="6239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90" name="Google Shape;1490;p40"/>
          <p:cNvSpPr/>
          <p:nvPr/>
        </p:nvSpPr>
        <p:spPr>
          <a:xfrm>
            <a:off x="9833592" y="2844783"/>
            <a:ext cx="100069" cy="154093"/>
          </a:xfrm>
          <a:custGeom>
            <a:avLst/>
            <a:gdLst/>
            <a:ahLst/>
            <a:cxnLst/>
            <a:rect l="l" t="t" r="r" b="b"/>
            <a:pathLst>
              <a:path w="2345" h="3611" extrusionOk="0">
                <a:moveTo>
                  <a:pt x="2313" y="0"/>
                </a:moveTo>
                <a:cubicBezTo>
                  <a:pt x="2281" y="0"/>
                  <a:pt x="2281" y="0"/>
                  <a:pt x="2249" y="32"/>
                </a:cubicBezTo>
                <a:cubicBezTo>
                  <a:pt x="1806" y="127"/>
                  <a:pt x="1204" y="412"/>
                  <a:pt x="697" y="1046"/>
                </a:cubicBezTo>
                <a:cubicBezTo>
                  <a:pt x="254" y="1616"/>
                  <a:pt x="1" y="2502"/>
                  <a:pt x="159" y="3484"/>
                </a:cubicBezTo>
                <a:cubicBezTo>
                  <a:pt x="159" y="3516"/>
                  <a:pt x="159" y="3579"/>
                  <a:pt x="159" y="3611"/>
                </a:cubicBezTo>
                <a:lnTo>
                  <a:pt x="761" y="3579"/>
                </a:lnTo>
                <a:cubicBezTo>
                  <a:pt x="729" y="3516"/>
                  <a:pt x="697" y="3484"/>
                  <a:pt x="697" y="3421"/>
                </a:cubicBezTo>
                <a:cubicBezTo>
                  <a:pt x="476" y="2597"/>
                  <a:pt x="602" y="1774"/>
                  <a:pt x="951" y="1236"/>
                </a:cubicBezTo>
                <a:cubicBezTo>
                  <a:pt x="1363" y="602"/>
                  <a:pt x="1869" y="254"/>
                  <a:pt x="2281" y="95"/>
                </a:cubicBezTo>
                <a:lnTo>
                  <a:pt x="2344" y="95"/>
                </a:lnTo>
                <a:lnTo>
                  <a:pt x="2313" y="0"/>
                </a:lnTo>
                <a:close/>
              </a:path>
            </a:pathLst>
          </a:custGeom>
          <a:gradFill>
            <a:gsLst>
              <a:gs pos="0">
                <a:srgbClr val="2D739B"/>
              </a:gs>
              <a:gs pos="100000">
                <a:srgbClr val="084365"/>
              </a:gs>
            </a:gsLst>
            <a:lin ang="5400700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491" name="Google Shape;1491;p40"/>
          <p:cNvSpPr/>
          <p:nvPr/>
        </p:nvSpPr>
        <p:spPr>
          <a:xfrm>
            <a:off x="8611896" y="4302973"/>
            <a:ext cx="1465019" cy="1537947"/>
          </a:xfrm>
          <a:custGeom>
            <a:avLst/>
            <a:gdLst/>
            <a:ahLst/>
            <a:cxnLst/>
            <a:rect l="l" t="t" r="r" b="b"/>
            <a:pathLst>
              <a:path w="34331" h="36040" extrusionOk="0">
                <a:moveTo>
                  <a:pt x="14062" y="0"/>
                </a:moveTo>
                <a:lnTo>
                  <a:pt x="1" y="24037"/>
                </a:lnTo>
                <a:cubicBezTo>
                  <a:pt x="2756" y="26032"/>
                  <a:pt x="5638" y="27837"/>
                  <a:pt x="8615" y="29389"/>
                </a:cubicBezTo>
                <a:cubicBezTo>
                  <a:pt x="14252" y="32302"/>
                  <a:pt x="20269" y="34139"/>
                  <a:pt x="26255" y="35248"/>
                </a:cubicBezTo>
                <a:cubicBezTo>
                  <a:pt x="27775" y="35438"/>
                  <a:pt x="29263" y="35628"/>
                  <a:pt x="30752" y="35849"/>
                </a:cubicBezTo>
                <a:lnTo>
                  <a:pt x="31860" y="35976"/>
                </a:lnTo>
                <a:lnTo>
                  <a:pt x="32968" y="36008"/>
                </a:lnTo>
                <a:cubicBezTo>
                  <a:pt x="33443" y="36008"/>
                  <a:pt x="33887" y="36039"/>
                  <a:pt x="34330" y="36039"/>
                </a:cubicBezTo>
                <a:lnTo>
                  <a:pt x="34330" y="6207"/>
                </a:lnTo>
                <a:cubicBezTo>
                  <a:pt x="25558" y="6207"/>
                  <a:pt x="18971" y="3547"/>
                  <a:pt x="14094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30%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92" name="Google Shape;1492;p40"/>
          <p:cNvSpPr/>
          <p:nvPr/>
        </p:nvSpPr>
        <p:spPr>
          <a:xfrm>
            <a:off x="9913349" y="3074534"/>
            <a:ext cx="163567" cy="57694"/>
          </a:xfrm>
          <a:custGeom>
            <a:avLst/>
            <a:gdLst/>
            <a:ahLst/>
            <a:cxnLst/>
            <a:rect l="l" t="t" r="r" b="b"/>
            <a:pathLst>
              <a:path w="3833" h="1352" extrusionOk="0">
                <a:moveTo>
                  <a:pt x="444" y="0"/>
                </a:moveTo>
                <a:lnTo>
                  <a:pt x="0" y="729"/>
                </a:lnTo>
                <a:cubicBezTo>
                  <a:pt x="32" y="729"/>
                  <a:pt x="32" y="760"/>
                  <a:pt x="32" y="760"/>
                </a:cubicBezTo>
                <a:lnTo>
                  <a:pt x="64" y="760"/>
                </a:lnTo>
                <a:cubicBezTo>
                  <a:pt x="653" y="1135"/>
                  <a:pt x="1402" y="1352"/>
                  <a:pt x="2194" y="1352"/>
                </a:cubicBezTo>
                <a:cubicBezTo>
                  <a:pt x="2338" y="1352"/>
                  <a:pt x="2483" y="1345"/>
                  <a:pt x="2629" y="1330"/>
                </a:cubicBezTo>
                <a:cubicBezTo>
                  <a:pt x="3009" y="1299"/>
                  <a:pt x="3420" y="1235"/>
                  <a:pt x="3832" y="1077"/>
                </a:cubicBezTo>
                <a:lnTo>
                  <a:pt x="3167" y="32"/>
                </a:lnTo>
                <a:cubicBezTo>
                  <a:pt x="2945" y="127"/>
                  <a:pt x="2692" y="190"/>
                  <a:pt x="2470" y="253"/>
                </a:cubicBezTo>
                <a:cubicBezTo>
                  <a:pt x="2263" y="301"/>
                  <a:pt x="2056" y="322"/>
                  <a:pt x="1852" y="322"/>
                </a:cubicBezTo>
                <a:cubicBezTo>
                  <a:pt x="1370" y="322"/>
                  <a:pt x="907" y="200"/>
                  <a:pt x="507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93" name="Google Shape;1493;p40"/>
          <p:cNvSpPr/>
          <p:nvPr/>
        </p:nvSpPr>
        <p:spPr>
          <a:xfrm>
            <a:off x="9763308" y="3193465"/>
            <a:ext cx="497400" cy="262100"/>
          </a:xfrm>
          <a:custGeom>
            <a:avLst/>
            <a:gdLst/>
            <a:ahLst/>
            <a:cxnLst/>
            <a:rect l="l" t="t" r="r" b="b"/>
            <a:pathLst>
              <a:path w="11656" h="6142" extrusionOk="0">
                <a:moveTo>
                  <a:pt x="2313" y="0"/>
                </a:moveTo>
                <a:lnTo>
                  <a:pt x="1" y="3959"/>
                </a:lnTo>
                <a:cubicBezTo>
                  <a:pt x="1" y="3990"/>
                  <a:pt x="33" y="3990"/>
                  <a:pt x="33" y="3990"/>
                </a:cubicBezTo>
                <a:cubicBezTo>
                  <a:pt x="1299" y="4940"/>
                  <a:pt x="2756" y="5605"/>
                  <a:pt x="4403" y="5922"/>
                </a:cubicBezTo>
                <a:cubicBezTo>
                  <a:pt x="5161" y="6071"/>
                  <a:pt x="5912" y="6142"/>
                  <a:pt x="6658" y="6142"/>
                </a:cubicBezTo>
                <a:cubicBezTo>
                  <a:pt x="7968" y="6142"/>
                  <a:pt x="9267" y="5925"/>
                  <a:pt x="10578" y="5542"/>
                </a:cubicBezTo>
                <a:cubicBezTo>
                  <a:pt x="10927" y="5415"/>
                  <a:pt x="11307" y="5289"/>
                  <a:pt x="11655" y="5130"/>
                </a:cubicBezTo>
                <a:lnTo>
                  <a:pt x="8678" y="412"/>
                </a:lnTo>
                <a:cubicBezTo>
                  <a:pt x="8140" y="665"/>
                  <a:pt x="7538" y="792"/>
                  <a:pt x="6968" y="918"/>
                </a:cubicBezTo>
                <a:cubicBezTo>
                  <a:pt x="6651" y="950"/>
                  <a:pt x="6335" y="1013"/>
                  <a:pt x="6018" y="1013"/>
                </a:cubicBezTo>
                <a:cubicBezTo>
                  <a:pt x="5828" y="1013"/>
                  <a:pt x="5638" y="1027"/>
                  <a:pt x="5448" y="1027"/>
                </a:cubicBezTo>
                <a:cubicBezTo>
                  <a:pt x="5353" y="1027"/>
                  <a:pt x="5258" y="1024"/>
                  <a:pt x="5163" y="1013"/>
                </a:cubicBezTo>
                <a:cubicBezTo>
                  <a:pt x="4150" y="918"/>
                  <a:pt x="3200" y="570"/>
                  <a:pt x="2344" y="32"/>
                </a:cubicBezTo>
                <a:cubicBezTo>
                  <a:pt x="2344" y="32"/>
                  <a:pt x="2313" y="32"/>
                  <a:pt x="2313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94" name="Google Shape;1494;p40"/>
          <p:cNvSpPr/>
          <p:nvPr/>
        </p:nvSpPr>
        <p:spPr>
          <a:xfrm>
            <a:off x="9401140" y="3494826"/>
            <a:ext cx="1301451" cy="733213"/>
          </a:xfrm>
          <a:custGeom>
            <a:avLst/>
            <a:gdLst/>
            <a:ahLst/>
            <a:cxnLst/>
            <a:rect l="l" t="t" r="r" b="b"/>
            <a:pathLst>
              <a:path w="30498" h="17182" extrusionOk="0">
                <a:moveTo>
                  <a:pt x="6651" y="0"/>
                </a:moveTo>
                <a:lnTo>
                  <a:pt x="1" y="11369"/>
                </a:lnTo>
                <a:lnTo>
                  <a:pt x="32" y="11401"/>
                </a:lnTo>
                <a:cubicBezTo>
                  <a:pt x="3801" y="14315"/>
                  <a:pt x="8425" y="16246"/>
                  <a:pt x="13270" y="16943"/>
                </a:cubicBezTo>
                <a:cubicBezTo>
                  <a:pt x="14490" y="17073"/>
                  <a:pt x="15753" y="17181"/>
                  <a:pt x="16936" y="17181"/>
                </a:cubicBezTo>
                <a:cubicBezTo>
                  <a:pt x="17196" y="17181"/>
                  <a:pt x="17453" y="17176"/>
                  <a:pt x="17704" y="17165"/>
                </a:cubicBezTo>
                <a:cubicBezTo>
                  <a:pt x="18432" y="17133"/>
                  <a:pt x="19129" y="17165"/>
                  <a:pt x="19857" y="17070"/>
                </a:cubicBezTo>
                <a:lnTo>
                  <a:pt x="22011" y="16816"/>
                </a:lnTo>
                <a:cubicBezTo>
                  <a:pt x="22739" y="16753"/>
                  <a:pt x="23436" y="16595"/>
                  <a:pt x="24164" y="16436"/>
                </a:cubicBezTo>
                <a:cubicBezTo>
                  <a:pt x="24861" y="16278"/>
                  <a:pt x="25589" y="16151"/>
                  <a:pt x="26286" y="15930"/>
                </a:cubicBezTo>
                <a:cubicBezTo>
                  <a:pt x="27679" y="15486"/>
                  <a:pt x="29105" y="15106"/>
                  <a:pt x="30435" y="14441"/>
                </a:cubicBezTo>
                <a:cubicBezTo>
                  <a:pt x="30435" y="14441"/>
                  <a:pt x="30466" y="14441"/>
                  <a:pt x="30498" y="14410"/>
                </a:cubicBezTo>
                <a:lnTo>
                  <a:pt x="22264" y="1394"/>
                </a:lnTo>
                <a:cubicBezTo>
                  <a:pt x="22074" y="1489"/>
                  <a:pt x="21916" y="1552"/>
                  <a:pt x="21726" y="1647"/>
                </a:cubicBezTo>
                <a:cubicBezTo>
                  <a:pt x="21346" y="1805"/>
                  <a:pt x="20966" y="1869"/>
                  <a:pt x="20586" y="2027"/>
                </a:cubicBezTo>
                <a:cubicBezTo>
                  <a:pt x="20206" y="2154"/>
                  <a:pt x="19825" y="2312"/>
                  <a:pt x="19414" y="2344"/>
                </a:cubicBezTo>
                <a:lnTo>
                  <a:pt x="18210" y="2629"/>
                </a:lnTo>
                <a:cubicBezTo>
                  <a:pt x="17830" y="2724"/>
                  <a:pt x="17419" y="2724"/>
                  <a:pt x="17007" y="2755"/>
                </a:cubicBezTo>
                <a:cubicBezTo>
                  <a:pt x="16152" y="2914"/>
                  <a:pt x="15455" y="2882"/>
                  <a:pt x="14695" y="2914"/>
                </a:cubicBezTo>
                <a:cubicBezTo>
                  <a:pt x="11845" y="2755"/>
                  <a:pt x="9026" y="1837"/>
                  <a:pt x="6683" y="32"/>
                </a:cubicBezTo>
                <a:cubicBezTo>
                  <a:pt x="6683" y="32"/>
                  <a:pt x="6651" y="32"/>
                  <a:pt x="6651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96" name="Google Shape;1496;p40"/>
          <p:cNvSpPr txBox="1"/>
          <p:nvPr/>
        </p:nvSpPr>
        <p:spPr>
          <a:xfrm>
            <a:off x="609609" y="1496571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498" name="Google Shape;1498;p40"/>
          <p:cNvSpPr txBox="1"/>
          <p:nvPr/>
        </p:nvSpPr>
        <p:spPr>
          <a:xfrm>
            <a:off x="609600" y="3134006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500" name="Google Shape;1500;p40"/>
          <p:cNvSpPr txBox="1"/>
          <p:nvPr/>
        </p:nvSpPr>
        <p:spPr>
          <a:xfrm>
            <a:off x="609600" y="4775341"/>
            <a:ext cx="2857200" cy="4736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502" name="Google Shape;1502;p40"/>
          <p:cNvSpPr txBox="1"/>
          <p:nvPr/>
        </p:nvSpPr>
        <p:spPr>
          <a:xfrm>
            <a:off x="4070192" y="1496571"/>
            <a:ext cx="2857200" cy="5152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504" name="Google Shape;1504;p40"/>
          <p:cNvSpPr txBox="1"/>
          <p:nvPr/>
        </p:nvSpPr>
        <p:spPr>
          <a:xfrm>
            <a:off x="4070184" y="3141571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506" name="Google Shape;1506;p40"/>
          <p:cNvSpPr txBox="1"/>
          <p:nvPr/>
        </p:nvSpPr>
        <p:spPr>
          <a:xfrm>
            <a:off x="4070184" y="4790573"/>
            <a:ext cx="2857200" cy="4736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3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7A7A7E9-A019-4F64-9209-C340CED1FE71}"/>
              </a:ext>
            </a:extLst>
          </p:cNvPr>
          <p:cNvSpPr txBox="1"/>
          <p:nvPr/>
        </p:nvSpPr>
        <p:spPr>
          <a:xfrm>
            <a:off x="1035533" y="2164098"/>
            <a:ext cx="221606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</a:t>
            </a:r>
          </a:p>
        </p:txBody>
      </p:sp>
      <p:sp>
        <p:nvSpPr>
          <p:cNvPr id="3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D600E77-3403-4D52-9811-8996F60A96C8}"/>
              </a:ext>
            </a:extLst>
          </p:cNvPr>
          <p:cNvSpPr txBox="1"/>
          <p:nvPr/>
        </p:nvSpPr>
        <p:spPr>
          <a:xfrm>
            <a:off x="1007055" y="3873114"/>
            <a:ext cx="221606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</a:t>
            </a:r>
          </a:p>
        </p:txBody>
      </p:sp>
      <p:sp>
        <p:nvSpPr>
          <p:cNvPr id="3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3ED6335-9DAB-4855-AC94-05D5EFC719E1}"/>
              </a:ext>
            </a:extLst>
          </p:cNvPr>
          <p:cNvSpPr txBox="1"/>
          <p:nvPr/>
        </p:nvSpPr>
        <p:spPr>
          <a:xfrm>
            <a:off x="1007054" y="5507012"/>
            <a:ext cx="221606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</a:t>
            </a:r>
          </a:p>
        </p:txBody>
      </p:sp>
      <p:sp>
        <p:nvSpPr>
          <p:cNvPr id="3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835D7369-0821-43C5-9725-FEF30C012C6B}"/>
              </a:ext>
            </a:extLst>
          </p:cNvPr>
          <p:cNvSpPr txBox="1"/>
          <p:nvPr/>
        </p:nvSpPr>
        <p:spPr>
          <a:xfrm>
            <a:off x="4324085" y="2221814"/>
            <a:ext cx="221606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</a:t>
            </a:r>
          </a:p>
        </p:txBody>
      </p:sp>
      <p:sp>
        <p:nvSpPr>
          <p:cNvPr id="3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CEAB971-FE04-4394-936E-EDE6C589E0BC}"/>
              </a:ext>
            </a:extLst>
          </p:cNvPr>
          <p:cNvSpPr txBox="1"/>
          <p:nvPr/>
        </p:nvSpPr>
        <p:spPr>
          <a:xfrm>
            <a:off x="4362326" y="3847189"/>
            <a:ext cx="221606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</a:t>
            </a:r>
          </a:p>
        </p:txBody>
      </p:sp>
      <p:sp>
        <p:nvSpPr>
          <p:cNvPr id="3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12A56A8-6CEE-434D-8229-D8DBF9DE1A91}"/>
              </a:ext>
            </a:extLst>
          </p:cNvPr>
          <p:cNvSpPr txBox="1"/>
          <p:nvPr/>
        </p:nvSpPr>
        <p:spPr>
          <a:xfrm>
            <a:off x="4323309" y="5507012"/>
            <a:ext cx="221606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AE6F447A-C6FF-4FE5-98F3-90D6EC2CDD65}"/>
              </a:ext>
            </a:extLst>
          </p:cNvPr>
          <p:cNvSpPr txBox="1"/>
          <p:nvPr/>
        </p:nvSpPr>
        <p:spPr>
          <a:xfrm>
            <a:off x="865367" y="1598252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4E08BD03-3075-46E1-B8AD-CEEA8E879FCD}"/>
              </a:ext>
            </a:extLst>
          </p:cNvPr>
          <p:cNvSpPr txBox="1"/>
          <p:nvPr/>
        </p:nvSpPr>
        <p:spPr>
          <a:xfrm>
            <a:off x="899114" y="3244836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8C0A159F-CCF4-4CE5-B7EF-58DCEDB8B23D}"/>
              </a:ext>
            </a:extLst>
          </p:cNvPr>
          <p:cNvSpPr txBox="1"/>
          <p:nvPr/>
        </p:nvSpPr>
        <p:spPr>
          <a:xfrm>
            <a:off x="900222" y="485825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33197EC6-F718-4924-87E4-62AD3FEDA139}"/>
              </a:ext>
            </a:extLst>
          </p:cNvPr>
          <p:cNvSpPr txBox="1"/>
          <p:nvPr/>
        </p:nvSpPr>
        <p:spPr>
          <a:xfrm>
            <a:off x="4375090" y="1593829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A5C3E7A9-E003-4969-9475-C04ADAA9F6F9}"/>
              </a:ext>
            </a:extLst>
          </p:cNvPr>
          <p:cNvSpPr txBox="1"/>
          <p:nvPr/>
        </p:nvSpPr>
        <p:spPr>
          <a:xfrm>
            <a:off x="4375090" y="3228319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06E99691-FBB7-41A2-8327-E36D889CC988}"/>
              </a:ext>
            </a:extLst>
          </p:cNvPr>
          <p:cNvSpPr txBox="1"/>
          <p:nvPr/>
        </p:nvSpPr>
        <p:spPr>
          <a:xfrm>
            <a:off x="4340439" y="4873486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1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FAF28BD-610D-4629-A820-0010C0D22E67}"/>
              </a:ext>
            </a:extLst>
          </p:cNvPr>
          <p:cNvGrpSpPr/>
          <p:nvPr/>
        </p:nvGrpSpPr>
        <p:grpSpPr>
          <a:xfrm>
            <a:off x="1368771" y="3826163"/>
            <a:ext cx="9453220" cy="330671"/>
            <a:chOff x="1883972" y="3673761"/>
            <a:chExt cx="8422815" cy="3306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A292682-9A29-49B2-B131-FF27BFAEFD44}"/>
                </a:ext>
              </a:extLst>
            </p:cNvPr>
            <p:cNvSpPr/>
            <p:nvPr/>
          </p:nvSpPr>
          <p:spPr>
            <a:xfrm>
              <a:off x="1883972" y="3673761"/>
              <a:ext cx="1403802" cy="33067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C09A654-E1A0-45EA-A62D-70984FC70115}"/>
                </a:ext>
              </a:extLst>
            </p:cNvPr>
            <p:cNvSpPr/>
            <p:nvPr/>
          </p:nvSpPr>
          <p:spPr>
            <a:xfrm>
              <a:off x="3287774" y="3673761"/>
              <a:ext cx="1403802" cy="330671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77ECF71-62B7-4478-95FE-C550687016CC}"/>
                </a:ext>
              </a:extLst>
            </p:cNvPr>
            <p:cNvSpPr/>
            <p:nvPr/>
          </p:nvSpPr>
          <p:spPr>
            <a:xfrm>
              <a:off x="4691577" y="3673761"/>
              <a:ext cx="1403802" cy="33067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CD0EAD-CA59-4CFA-9798-81AE71EAFFEF}"/>
                </a:ext>
              </a:extLst>
            </p:cNvPr>
            <p:cNvSpPr/>
            <p:nvPr/>
          </p:nvSpPr>
          <p:spPr>
            <a:xfrm>
              <a:off x="6095379" y="3673761"/>
              <a:ext cx="1403802" cy="330671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24FD75A-4096-40F3-80C6-843D2DE2657D}"/>
                </a:ext>
              </a:extLst>
            </p:cNvPr>
            <p:cNvSpPr/>
            <p:nvPr/>
          </p:nvSpPr>
          <p:spPr>
            <a:xfrm>
              <a:off x="7499183" y="3673761"/>
              <a:ext cx="1403802" cy="330671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8E838D-2803-4BFE-A07A-09FBF640320A}"/>
                </a:ext>
              </a:extLst>
            </p:cNvPr>
            <p:cNvSpPr/>
            <p:nvPr/>
          </p:nvSpPr>
          <p:spPr>
            <a:xfrm>
              <a:off x="8902985" y="3673761"/>
              <a:ext cx="1403802" cy="330671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C3B9FE4F-1501-4E61-8835-914F6D97A73C}"/>
              </a:ext>
            </a:extLst>
          </p:cNvPr>
          <p:cNvGrpSpPr/>
          <p:nvPr/>
        </p:nvGrpSpPr>
        <p:grpSpPr>
          <a:xfrm>
            <a:off x="945013" y="3708828"/>
            <a:ext cx="565344" cy="565339"/>
            <a:chOff x="1601299" y="3556426"/>
            <a:chExt cx="565344" cy="565339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E9A8E9A-5449-4F64-A238-7D426B54CD22}"/>
                </a:ext>
              </a:extLst>
            </p:cNvPr>
            <p:cNvSpPr/>
            <p:nvPr/>
          </p:nvSpPr>
          <p:spPr>
            <a:xfrm>
              <a:off x="1601299" y="3556426"/>
              <a:ext cx="565344" cy="565339"/>
            </a:xfrm>
            <a:prstGeom prst="ellipse">
              <a:avLst/>
            </a:prstGeom>
            <a:solidFill>
              <a:schemeClr val="accent2"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C7201BE-F539-4E7C-9EF6-F92F03A1C4DA}"/>
                </a:ext>
              </a:extLst>
            </p:cNvPr>
            <p:cNvSpPr/>
            <p:nvPr/>
          </p:nvSpPr>
          <p:spPr>
            <a:xfrm>
              <a:off x="1718636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1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E49F16CB-6A96-4441-96D2-0847B502518F}"/>
              </a:ext>
            </a:extLst>
          </p:cNvPr>
          <p:cNvGrpSpPr/>
          <p:nvPr/>
        </p:nvGrpSpPr>
        <p:grpSpPr>
          <a:xfrm>
            <a:off x="2544064" y="3708828"/>
            <a:ext cx="565344" cy="565339"/>
            <a:chOff x="3005102" y="3556426"/>
            <a:chExt cx="565344" cy="56533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F70BB886-9C0A-4ECC-8337-D8DEF6DC109C}"/>
                </a:ext>
              </a:extLst>
            </p:cNvPr>
            <p:cNvSpPr/>
            <p:nvPr/>
          </p:nvSpPr>
          <p:spPr>
            <a:xfrm>
              <a:off x="3005102" y="3556426"/>
              <a:ext cx="565344" cy="56533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BFA58F6-04E8-4B61-8583-EC7A9B018F2D}"/>
                </a:ext>
              </a:extLst>
            </p:cNvPr>
            <p:cNvSpPr/>
            <p:nvPr/>
          </p:nvSpPr>
          <p:spPr>
            <a:xfrm>
              <a:off x="3122439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2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73AE651-764C-4495-A35B-0E7144E8144B}"/>
              </a:ext>
            </a:extLst>
          </p:cNvPr>
          <p:cNvGrpSpPr/>
          <p:nvPr/>
        </p:nvGrpSpPr>
        <p:grpSpPr>
          <a:xfrm>
            <a:off x="4143115" y="3708828"/>
            <a:ext cx="565344" cy="565339"/>
            <a:chOff x="4404126" y="3556426"/>
            <a:chExt cx="565344" cy="56533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59DEC6E-422F-4F0D-B04E-EF88EBF21AE8}"/>
                </a:ext>
              </a:extLst>
            </p:cNvPr>
            <p:cNvSpPr/>
            <p:nvPr/>
          </p:nvSpPr>
          <p:spPr>
            <a:xfrm>
              <a:off x="4404126" y="3556426"/>
              <a:ext cx="565344" cy="565339"/>
            </a:xfrm>
            <a:prstGeom prst="ellipse">
              <a:avLst/>
            </a:prstGeom>
            <a:solidFill>
              <a:schemeClr val="accent2"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FC61B0B-3959-4810-AC42-354FED05F7BB}"/>
                </a:ext>
              </a:extLst>
            </p:cNvPr>
            <p:cNvSpPr/>
            <p:nvPr/>
          </p:nvSpPr>
          <p:spPr>
            <a:xfrm>
              <a:off x="4521463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3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497EBF3-A1BC-41A2-8FC3-00D8673913A0}"/>
              </a:ext>
            </a:extLst>
          </p:cNvPr>
          <p:cNvGrpSpPr/>
          <p:nvPr/>
        </p:nvGrpSpPr>
        <p:grpSpPr>
          <a:xfrm>
            <a:off x="5742167" y="3708828"/>
            <a:ext cx="565344" cy="565339"/>
            <a:chOff x="5812706" y="3556426"/>
            <a:chExt cx="565344" cy="565339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4F963940-EFFC-4CEA-A2B1-F7FE5A225BF6}"/>
                </a:ext>
              </a:extLst>
            </p:cNvPr>
            <p:cNvSpPr/>
            <p:nvPr/>
          </p:nvSpPr>
          <p:spPr>
            <a:xfrm>
              <a:off x="5812706" y="3556426"/>
              <a:ext cx="565344" cy="56533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8BCD415-1C93-47CF-87D6-D078DFF5522F}"/>
                </a:ext>
              </a:extLst>
            </p:cNvPr>
            <p:cNvSpPr/>
            <p:nvPr/>
          </p:nvSpPr>
          <p:spPr>
            <a:xfrm>
              <a:off x="5930043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4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536FD439-4D7D-42C5-ADF3-0BC3A226621B}"/>
              </a:ext>
            </a:extLst>
          </p:cNvPr>
          <p:cNvGrpSpPr/>
          <p:nvPr/>
        </p:nvGrpSpPr>
        <p:grpSpPr>
          <a:xfrm>
            <a:off x="7341217" y="3708828"/>
            <a:ext cx="565344" cy="565339"/>
            <a:chOff x="7211732" y="3556426"/>
            <a:chExt cx="565344" cy="565339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9704DDEE-ADF6-49D9-B6EA-9CE489FFF2E4}"/>
                </a:ext>
              </a:extLst>
            </p:cNvPr>
            <p:cNvSpPr/>
            <p:nvPr/>
          </p:nvSpPr>
          <p:spPr>
            <a:xfrm>
              <a:off x="7211732" y="3556426"/>
              <a:ext cx="565344" cy="565339"/>
            </a:xfrm>
            <a:prstGeom prst="ellipse">
              <a:avLst/>
            </a:prstGeom>
            <a:solidFill>
              <a:schemeClr val="accent2"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3F4F6EA-F614-4704-849A-41000F123666}"/>
                </a:ext>
              </a:extLst>
            </p:cNvPr>
            <p:cNvSpPr/>
            <p:nvPr/>
          </p:nvSpPr>
          <p:spPr>
            <a:xfrm>
              <a:off x="7329069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5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1411FAD-3A79-4E3A-B1E4-0ADD67D5B034}"/>
              </a:ext>
            </a:extLst>
          </p:cNvPr>
          <p:cNvGrpSpPr/>
          <p:nvPr/>
        </p:nvGrpSpPr>
        <p:grpSpPr>
          <a:xfrm>
            <a:off x="8940268" y="3708828"/>
            <a:ext cx="565344" cy="565339"/>
            <a:chOff x="8610757" y="3556426"/>
            <a:chExt cx="565344" cy="565339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E0A6358-FCC8-42E6-BD69-7FE7D29319B3}"/>
                </a:ext>
              </a:extLst>
            </p:cNvPr>
            <p:cNvSpPr/>
            <p:nvPr/>
          </p:nvSpPr>
          <p:spPr>
            <a:xfrm>
              <a:off x="8610757" y="3556426"/>
              <a:ext cx="565344" cy="56533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F17617C7-096F-4181-9C5C-9D3EB466D65E}"/>
                </a:ext>
              </a:extLst>
            </p:cNvPr>
            <p:cNvSpPr/>
            <p:nvPr/>
          </p:nvSpPr>
          <p:spPr>
            <a:xfrm>
              <a:off x="8728094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6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1A8774E-7E31-4ED9-A02C-E6BE77075CF7}"/>
              </a:ext>
            </a:extLst>
          </p:cNvPr>
          <p:cNvGrpSpPr/>
          <p:nvPr/>
        </p:nvGrpSpPr>
        <p:grpSpPr>
          <a:xfrm>
            <a:off x="10539320" y="3708828"/>
            <a:ext cx="565344" cy="565339"/>
            <a:chOff x="10018211" y="3556426"/>
            <a:chExt cx="565344" cy="565339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054E65C-D3EF-4A34-B7D3-C04C68C7B7B0}"/>
                </a:ext>
              </a:extLst>
            </p:cNvPr>
            <p:cNvSpPr/>
            <p:nvPr/>
          </p:nvSpPr>
          <p:spPr>
            <a:xfrm>
              <a:off x="10018211" y="3556426"/>
              <a:ext cx="565344" cy="565339"/>
            </a:xfrm>
            <a:prstGeom prst="ellipse">
              <a:avLst/>
            </a:prstGeom>
            <a:solidFill>
              <a:schemeClr val="accent2">
                <a:alpha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4B14336-21C5-4DAF-848D-C3E7FD07F99A}"/>
                </a:ext>
              </a:extLst>
            </p:cNvPr>
            <p:cNvSpPr/>
            <p:nvPr/>
          </p:nvSpPr>
          <p:spPr>
            <a:xfrm>
              <a:off x="10135548" y="3673760"/>
              <a:ext cx="330671" cy="33067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15000"/>
                </a:prst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F5858"/>
                  </a:solidFill>
                  <a:effectLst/>
                  <a:uLnTx/>
                  <a:uFillTx/>
                  <a:cs typeface="+mn-ea"/>
                  <a:sym typeface="+mn-lt"/>
                </a:rPr>
                <a:t>7</a:t>
              </a: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B2A88DD-097A-49D3-BD99-3E5A8ED4FA15}"/>
              </a:ext>
            </a:extLst>
          </p:cNvPr>
          <p:cNvCxnSpPr/>
          <p:nvPr/>
        </p:nvCxnSpPr>
        <p:spPr>
          <a:xfrm>
            <a:off x="1227685" y="3340836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8A24795-E3AA-48FC-9B9A-EC4050556EFF}"/>
              </a:ext>
            </a:extLst>
          </p:cNvPr>
          <p:cNvCxnSpPr/>
          <p:nvPr/>
        </p:nvCxnSpPr>
        <p:spPr>
          <a:xfrm>
            <a:off x="4425787" y="3340836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D20867-29C7-4C15-B5CF-020676BEF102}"/>
              </a:ext>
            </a:extLst>
          </p:cNvPr>
          <p:cNvCxnSpPr/>
          <p:nvPr/>
        </p:nvCxnSpPr>
        <p:spPr>
          <a:xfrm>
            <a:off x="7623889" y="3340836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5A03593-3D9C-4876-9255-0FCE41632CCF}"/>
              </a:ext>
            </a:extLst>
          </p:cNvPr>
          <p:cNvCxnSpPr/>
          <p:nvPr/>
        </p:nvCxnSpPr>
        <p:spPr>
          <a:xfrm>
            <a:off x="10821992" y="3340836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AE29020-A7E2-408C-8E8E-55DC165F91F1}"/>
              </a:ext>
            </a:extLst>
          </p:cNvPr>
          <p:cNvCxnSpPr/>
          <p:nvPr/>
        </p:nvCxnSpPr>
        <p:spPr>
          <a:xfrm flipV="1">
            <a:off x="2826736" y="4156832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0B01CBF-B77A-4C1E-8391-BE816606BF58}"/>
              </a:ext>
            </a:extLst>
          </p:cNvPr>
          <p:cNvCxnSpPr/>
          <p:nvPr/>
        </p:nvCxnSpPr>
        <p:spPr>
          <a:xfrm flipV="1">
            <a:off x="6024839" y="4156832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9D7D71F-2BD3-46B7-9055-B5216E236CAF}"/>
              </a:ext>
            </a:extLst>
          </p:cNvPr>
          <p:cNvCxnSpPr/>
          <p:nvPr/>
        </p:nvCxnSpPr>
        <p:spPr>
          <a:xfrm flipV="1">
            <a:off x="9222940" y="4156832"/>
            <a:ext cx="0" cy="485325"/>
          </a:xfrm>
          <a:prstGeom prst="line">
            <a:avLst/>
          </a:prstGeom>
          <a:noFill/>
          <a:ln w="12700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oval"/>
          </a:ln>
          <a:effectLst/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6B7E22C-40BE-4D26-9440-E145F05713BC}"/>
              </a:ext>
            </a:extLst>
          </p:cNvPr>
          <p:cNvGrpSpPr/>
          <p:nvPr/>
        </p:nvGrpSpPr>
        <p:grpSpPr>
          <a:xfrm>
            <a:off x="1036795" y="2118854"/>
            <a:ext cx="379272" cy="360413"/>
            <a:chOff x="5465763" y="1358900"/>
            <a:chExt cx="287337" cy="273050"/>
          </a:xfrm>
          <a:solidFill>
            <a:schemeClr val="accent1"/>
          </a:solidFill>
        </p:grpSpPr>
        <p:sp>
          <p:nvSpPr>
            <p:cNvPr id="70" name="Freeform 567">
              <a:extLst>
                <a:ext uri="{FF2B5EF4-FFF2-40B4-BE49-F238E27FC236}">
                  <a16:creationId xmlns:a16="http://schemas.microsoft.com/office/drawing/2014/main" id="{9FCD1C76-F33B-4CF0-A2F9-1AA257F102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6413" y="1446213"/>
              <a:ext cx="76200" cy="76200"/>
            </a:xfrm>
            <a:custGeom>
              <a:avLst/>
              <a:gdLst>
                <a:gd name="T0" fmla="*/ 106 w 241"/>
                <a:gd name="T1" fmla="*/ 72 h 241"/>
                <a:gd name="T2" fmla="*/ 108 w 241"/>
                <a:gd name="T3" fmla="*/ 66 h 241"/>
                <a:gd name="T4" fmla="*/ 112 w 241"/>
                <a:gd name="T5" fmla="*/ 63 h 241"/>
                <a:gd name="T6" fmla="*/ 117 w 241"/>
                <a:gd name="T7" fmla="*/ 61 h 241"/>
                <a:gd name="T8" fmla="*/ 124 w 241"/>
                <a:gd name="T9" fmla="*/ 60 h 241"/>
                <a:gd name="T10" fmla="*/ 129 w 241"/>
                <a:gd name="T11" fmla="*/ 63 h 241"/>
                <a:gd name="T12" fmla="*/ 133 w 241"/>
                <a:gd name="T13" fmla="*/ 66 h 241"/>
                <a:gd name="T14" fmla="*/ 136 w 241"/>
                <a:gd name="T15" fmla="*/ 72 h 241"/>
                <a:gd name="T16" fmla="*/ 136 w 241"/>
                <a:gd name="T17" fmla="*/ 165 h 241"/>
                <a:gd name="T18" fmla="*/ 134 w 241"/>
                <a:gd name="T19" fmla="*/ 171 h 241"/>
                <a:gd name="T20" fmla="*/ 131 w 241"/>
                <a:gd name="T21" fmla="*/ 176 h 241"/>
                <a:gd name="T22" fmla="*/ 126 w 241"/>
                <a:gd name="T23" fmla="*/ 179 h 241"/>
                <a:gd name="T24" fmla="*/ 121 w 241"/>
                <a:gd name="T25" fmla="*/ 180 h 241"/>
                <a:gd name="T26" fmla="*/ 115 w 241"/>
                <a:gd name="T27" fmla="*/ 179 h 241"/>
                <a:gd name="T28" fmla="*/ 110 w 241"/>
                <a:gd name="T29" fmla="*/ 176 h 241"/>
                <a:gd name="T30" fmla="*/ 107 w 241"/>
                <a:gd name="T31" fmla="*/ 171 h 241"/>
                <a:gd name="T32" fmla="*/ 106 w 241"/>
                <a:gd name="T33" fmla="*/ 165 h 241"/>
                <a:gd name="T34" fmla="*/ 121 w 241"/>
                <a:gd name="T35" fmla="*/ 241 h 241"/>
                <a:gd name="T36" fmla="*/ 145 w 241"/>
                <a:gd name="T37" fmla="*/ 238 h 241"/>
                <a:gd name="T38" fmla="*/ 168 w 241"/>
                <a:gd name="T39" fmla="*/ 232 h 241"/>
                <a:gd name="T40" fmla="*/ 188 w 241"/>
                <a:gd name="T41" fmla="*/ 220 h 241"/>
                <a:gd name="T42" fmla="*/ 205 w 241"/>
                <a:gd name="T43" fmla="*/ 206 h 241"/>
                <a:gd name="T44" fmla="*/ 220 w 241"/>
                <a:gd name="T45" fmla="*/ 188 h 241"/>
                <a:gd name="T46" fmla="*/ 231 w 241"/>
                <a:gd name="T47" fmla="*/ 167 h 241"/>
                <a:gd name="T48" fmla="*/ 238 w 241"/>
                <a:gd name="T49" fmla="*/ 145 h 241"/>
                <a:gd name="T50" fmla="*/ 241 w 241"/>
                <a:gd name="T51" fmla="*/ 120 h 241"/>
                <a:gd name="T52" fmla="*/ 238 w 241"/>
                <a:gd name="T53" fmla="*/ 96 h 241"/>
                <a:gd name="T54" fmla="*/ 231 w 241"/>
                <a:gd name="T55" fmla="*/ 74 h 241"/>
                <a:gd name="T56" fmla="*/ 220 w 241"/>
                <a:gd name="T57" fmla="*/ 53 h 241"/>
                <a:gd name="T58" fmla="*/ 205 w 241"/>
                <a:gd name="T59" fmla="*/ 35 h 241"/>
                <a:gd name="T60" fmla="*/ 188 w 241"/>
                <a:gd name="T61" fmla="*/ 20 h 241"/>
                <a:gd name="T62" fmla="*/ 168 w 241"/>
                <a:gd name="T63" fmla="*/ 9 h 241"/>
                <a:gd name="T64" fmla="*/ 145 w 241"/>
                <a:gd name="T65" fmla="*/ 2 h 241"/>
                <a:gd name="T66" fmla="*/ 121 w 241"/>
                <a:gd name="T67" fmla="*/ 0 h 241"/>
                <a:gd name="T68" fmla="*/ 96 w 241"/>
                <a:gd name="T69" fmla="*/ 2 h 241"/>
                <a:gd name="T70" fmla="*/ 73 w 241"/>
                <a:gd name="T71" fmla="*/ 9 h 241"/>
                <a:gd name="T72" fmla="*/ 53 w 241"/>
                <a:gd name="T73" fmla="*/ 20 h 241"/>
                <a:gd name="T74" fmla="*/ 36 w 241"/>
                <a:gd name="T75" fmla="*/ 35 h 241"/>
                <a:gd name="T76" fmla="*/ 21 w 241"/>
                <a:gd name="T77" fmla="*/ 53 h 241"/>
                <a:gd name="T78" fmla="*/ 10 w 241"/>
                <a:gd name="T79" fmla="*/ 74 h 241"/>
                <a:gd name="T80" fmla="*/ 3 w 241"/>
                <a:gd name="T81" fmla="*/ 96 h 241"/>
                <a:gd name="T82" fmla="*/ 0 w 241"/>
                <a:gd name="T83" fmla="*/ 120 h 241"/>
                <a:gd name="T84" fmla="*/ 3 w 241"/>
                <a:gd name="T85" fmla="*/ 145 h 241"/>
                <a:gd name="T86" fmla="*/ 10 w 241"/>
                <a:gd name="T87" fmla="*/ 167 h 241"/>
                <a:gd name="T88" fmla="*/ 21 w 241"/>
                <a:gd name="T89" fmla="*/ 188 h 241"/>
                <a:gd name="T90" fmla="*/ 36 w 241"/>
                <a:gd name="T91" fmla="*/ 206 h 241"/>
                <a:gd name="T92" fmla="*/ 53 w 241"/>
                <a:gd name="T93" fmla="*/ 220 h 241"/>
                <a:gd name="T94" fmla="*/ 73 w 241"/>
                <a:gd name="T95" fmla="*/ 232 h 241"/>
                <a:gd name="T96" fmla="*/ 96 w 241"/>
                <a:gd name="T97" fmla="*/ 238 h 241"/>
                <a:gd name="T98" fmla="*/ 121 w 241"/>
                <a:gd name="T9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1" h="241">
                  <a:moveTo>
                    <a:pt x="106" y="75"/>
                  </a:moveTo>
                  <a:lnTo>
                    <a:pt x="106" y="72"/>
                  </a:lnTo>
                  <a:lnTo>
                    <a:pt x="107" y="70"/>
                  </a:lnTo>
                  <a:lnTo>
                    <a:pt x="108" y="66"/>
                  </a:lnTo>
                  <a:lnTo>
                    <a:pt x="110" y="64"/>
                  </a:lnTo>
                  <a:lnTo>
                    <a:pt x="112" y="63"/>
                  </a:lnTo>
                  <a:lnTo>
                    <a:pt x="115" y="61"/>
                  </a:lnTo>
                  <a:lnTo>
                    <a:pt x="117" y="61"/>
                  </a:lnTo>
                  <a:lnTo>
                    <a:pt x="121" y="60"/>
                  </a:lnTo>
                  <a:lnTo>
                    <a:pt x="124" y="60"/>
                  </a:lnTo>
                  <a:lnTo>
                    <a:pt x="126" y="61"/>
                  </a:lnTo>
                  <a:lnTo>
                    <a:pt x="129" y="63"/>
                  </a:lnTo>
                  <a:lnTo>
                    <a:pt x="131" y="64"/>
                  </a:lnTo>
                  <a:lnTo>
                    <a:pt x="133" y="66"/>
                  </a:lnTo>
                  <a:lnTo>
                    <a:pt x="134" y="70"/>
                  </a:lnTo>
                  <a:lnTo>
                    <a:pt x="136" y="72"/>
                  </a:lnTo>
                  <a:lnTo>
                    <a:pt x="136" y="75"/>
                  </a:lnTo>
                  <a:lnTo>
                    <a:pt x="136" y="165"/>
                  </a:lnTo>
                  <a:lnTo>
                    <a:pt x="136" y="168"/>
                  </a:lnTo>
                  <a:lnTo>
                    <a:pt x="134" y="171"/>
                  </a:lnTo>
                  <a:lnTo>
                    <a:pt x="133" y="174"/>
                  </a:lnTo>
                  <a:lnTo>
                    <a:pt x="131" y="176"/>
                  </a:lnTo>
                  <a:lnTo>
                    <a:pt x="129" y="178"/>
                  </a:lnTo>
                  <a:lnTo>
                    <a:pt x="126" y="179"/>
                  </a:lnTo>
                  <a:lnTo>
                    <a:pt x="124" y="180"/>
                  </a:lnTo>
                  <a:lnTo>
                    <a:pt x="121" y="180"/>
                  </a:lnTo>
                  <a:lnTo>
                    <a:pt x="117" y="180"/>
                  </a:lnTo>
                  <a:lnTo>
                    <a:pt x="115" y="179"/>
                  </a:lnTo>
                  <a:lnTo>
                    <a:pt x="112" y="178"/>
                  </a:lnTo>
                  <a:lnTo>
                    <a:pt x="110" y="176"/>
                  </a:lnTo>
                  <a:lnTo>
                    <a:pt x="108" y="174"/>
                  </a:lnTo>
                  <a:lnTo>
                    <a:pt x="107" y="171"/>
                  </a:lnTo>
                  <a:lnTo>
                    <a:pt x="106" y="168"/>
                  </a:lnTo>
                  <a:lnTo>
                    <a:pt x="106" y="165"/>
                  </a:lnTo>
                  <a:lnTo>
                    <a:pt x="106" y="75"/>
                  </a:lnTo>
                  <a:close/>
                  <a:moveTo>
                    <a:pt x="121" y="241"/>
                  </a:moveTo>
                  <a:lnTo>
                    <a:pt x="132" y="240"/>
                  </a:lnTo>
                  <a:lnTo>
                    <a:pt x="145" y="238"/>
                  </a:lnTo>
                  <a:lnTo>
                    <a:pt x="156" y="236"/>
                  </a:lnTo>
                  <a:lnTo>
                    <a:pt x="168" y="232"/>
                  </a:lnTo>
                  <a:lnTo>
                    <a:pt x="177" y="226"/>
                  </a:lnTo>
                  <a:lnTo>
                    <a:pt x="188" y="220"/>
                  </a:lnTo>
                  <a:lnTo>
                    <a:pt x="197" y="213"/>
                  </a:lnTo>
                  <a:lnTo>
                    <a:pt x="205" y="206"/>
                  </a:lnTo>
                  <a:lnTo>
                    <a:pt x="214" y="197"/>
                  </a:lnTo>
                  <a:lnTo>
                    <a:pt x="220" y="188"/>
                  </a:lnTo>
                  <a:lnTo>
                    <a:pt x="227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5"/>
                  </a:lnTo>
                  <a:lnTo>
                    <a:pt x="241" y="133"/>
                  </a:lnTo>
                  <a:lnTo>
                    <a:pt x="241" y="120"/>
                  </a:lnTo>
                  <a:lnTo>
                    <a:pt x="241" y="108"/>
                  </a:lnTo>
                  <a:lnTo>
                    <a:pt x="238" y="96"/>
                  </a:lnTo>
                  <a:lnTo>
                    <a:pt x="235" y="85"/>
                  </a:lnTo>
                  <a:lnTo>
                    <a:pt x="231" y="74"/>
                  </a:lnTo>
                  <a:lnTo>
                    <a:pt x="227" y="63"/>
                  </a:lnTo>
                  <a:lnTo>
                    <a:pt x="220" y="53"/>
                  </a:lnTo>
                  <a:lnTo>
                    <a:pt x="214" y="44"/>
                  </a:lnTo>
                  <a:lnTo>
                    <a:pt x="205" y="35"/>
                  </a:lnTo>
                  <a:lnTo>
                    <a:pt x="197" y="28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8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2" y="1"/>
                  </a:lnTo>
                  <a:lnTo>
                    <a:pt x="121" y="0"/>
                  </a:lnTo>
                  <a:lnTo>
                    <a:pt x="109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4" y="15"/>
                  </a:lnTo>
                  <a:lnTo>
                    <a:pt x="53" y="20"/>
                  </a:lnTo>
                  <a:lnTo>
                    <a:pt x="44" y="28"/>
                  </a:lnTo>
                  <a:lnTo>
                    <a:pt x="36" y="35"/>
                  </a:lnTo>
                  <a:lnTo>
                    <a:pt x="27" y="44"/>
                  </a:lnTo>
                  <a:lnTo>
                    <a:pt x="21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6" y="85"/>
                  </a:lnTo>
                  <a:lnTo>
                    <a:pt x="3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3" y="145"/>
                  </a:lnTo>
                  <a:lnTo>
                    <a:pt x="6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1" y="188"/>
                  </a:lnTo>
                  <a:lnTo>
                    <a:pt x="27" y="197"/>
                  </a:lnTo>
                  <a:lnTo>
                    <a:pt x="36" y="206"/>
                  </a:lnTo>
                  <a:lnTo>
                    <a:pt x="44" y="213"/>
                  </a:lnTo>
                  <a:lnTo>
                    <a:pt x="53" y="220"/>
                  </a:lnTo>
                  <a:lnTo>
                    <a:pt x="64" y="226"/>
                  </a:lnTo>
                  <a:lnTo>
                    <a:pt x="73" y="232"/>
                  </a:lnTo>
                  <a:lnTo>
                    <a:pt x="85" y="236"/>
                  </a:lnTo>
                  <a:lnTo>
                    <a:pt x="96" y="238"/>
                  </a:lnTo>
                  <a:lnTo>
                    <a:pt x="109" y="240"/>
                  </a:lnTo>
                  <a:lnTo>
                    <a:pt x="121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71" name="Freeform 568">
              <a:extLst>
                <a:ext uri="{FF2B5EF4-FFF2-40B4-BE49-F238E27FC236}">
                  <a16:creationId xmlns:a16="http://schemas.microsoft.com/office/drawing/2014/main" id="{EF6D8185-A903-4049-94AB-4E103EE87C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3563" y="1358900"/>
              <a:ext cx="76200" cy="77788"/>
            </a:xfrm>
            <a:custGeom>
              <a:avLst/>
              <a:gdLst>
                <a:gd name="T0" fmla="*/ 106 w 241"/>
                <a:gd name="T1" fmla="*/ 73 h 242"/>
                <a:gd name="T2" fmla="*/ 108 w 241"/>
                <a:gd name="T3" fmla="*/ 68 h 242"/>
                <a:gd name="T4" fmla="*/ 112 w 241"/>
                <a:gd name="T5" fmla="*/ 64 h 242"/>
                <a:gd name="T6" fmla="*/ 118 w 241"/>
                <a:gd name="T7" fmla="*/ 62 h 242"/>
                <a:gd name="T8" fmla="*/ 123 w 241"/>
                <a:gd name="T9" fmla="*/ 62 h 242"/>
                <a:gd name="T10" fmla="*/ 128 w 241"/>
                <a:gd name="T11" fmla="*/ 64 h 242"/>
                <a:gd name="T12" fmla="*/ 133 w 241"/>
                <a:gd name="T13" fmla="*/ 68 h 242"/>
                <a:gd name="T14" fmla="*/ 135 w 241"/>
                <a:gd name="T15" fmla="*/ 73 h 242"/>
                <a:gd name="T16" fmla="*/ 135 w 241"/>
                <a:gd name="T17" fmla="*/ 167 h 242"/>
                <a:gd name="T18" fmla="*/ 134 w 241"/>
                <a:gd name="T19" fmla="*/ 172 h 242"/>
                <a:gd name="T20" fmla="*/ 130 w 241"/>
                <a:gd name="T21" fmla="*/ 177 h 242"/>
                <a:gd name="T22" fmla="*/ 126 w 241"/>
                <a:gd name="T23" fmla="*/ 181 h 242"/>
                <a:gd name="T24" fmla="*/ 120 w 241"/>
                <a:gd name="T25" fmla="*/ 182 h 242"/>
                <a:gd name="T26" fmla="*/ 114 w 241"/>
                <a:gd name="T27" fmla="*/ 181 h 242"/>
                <a:gd name="T28" fmla="*/ 110 w 241"/>
                <a:gd name="T29" fmla="*/ 177 h 242"/>
                <a:gd name="T30" fmla="*/ 107 w 241"/>
                <a:gd name="T31" fmla="*/ 172 h 242"/>
                <a:gd name="T32" fmla="*/ 105 w 241"/>
                <a:gd name="T33" fmla="*/ 167 h 242"/>
                <a:gd name="T34" fmla="*/ 120 w 241"/>
                <a:gd name="T35" fmla="*/ 242 h 242"/>
                <a:gd name="T36" fmla="*/ 144 w 241"/>
                <a:gd name="T37" fmla="*/ 240 h 242"/>
                <a:gd name="T38" fmla="*/ 167 w 241"/>
                <a:gd name="T39" fmla="*/ 232 h 242"/>
                <a:gd name="T40" fmla="*/ 187 w 241"/>
                <a:gd name="T41" fmla="*/ 221 h 242"/>
                <a:gd name="T42" fmla="*/ 206 w 241"/>
                <a:gd name="T43" fmla="*/ 206 h 242"/>
                <a:gd name="T44" fmla="*/ 221 w 241"/>
                <a:gd name="T45" fmla="*/ 188 h 242"/>
                <a:gd name="T46" fmla="*/ 231 w 241"/>
                <a:gd name="T47" fmla="*/ 168 h 242"/>
                <a:gd name="T48" fmla="*/ 238 w 241"/>
                <a:gd name="T49" fmla="*/ 145 h 242"/>
                <a:gd name="T50" fmla="*/ 241 w 241"/>
                <a:gd name="T51" fmla="*/ 122 h 242"/>
                <a:gd name="T52" fmla="*/ 238 w 241"/>
                <a:gd name="T53" fmla="*/ 97 h 242"/>
                <a:gd name="T54" fmla="*/ 231 w 241"/>
                <a:gd name="T55" fmla="*/ 74 h 242"/>
                <a:gd name="T56" fmla="*/ 221 w 241"/>
                <a:gd name="T57" fmla="*/ 54 h 242"/>
                <a:gd name="T58" fmla="*/ 206 w 241"/>
                <a:gd name="T59" fmla="*/ 36 h 242"/>
                <a:gd name="T60" fmla="*/ 187 w 241"/>
                <a:gd name="T61" fmla="*/ 22 h 242"/>
                <a:gd name="T62" fmla="*/ 167 w 241"/>
                <a:gd name="T63" fmla="*/ 10 h 242"/>
                <a:gd name="T64" fmla="*/ 144 w 241"/>
                <a:gd name="T65" fmla="*/ 4 h 242"/>
                <a:gd name="T66" fmla="*/ 120 w 241"/>
                <a:gd name="T67" fmla="*/ 0 h 242"/>
                <a:gd name="T68" fmla="*/ 96 w 241"/>
                <a:gd name="T69" fmla="*/ 4 h 242"/>
                <a:gd name="T70" fmla="*/ 74 w 241"/>
                <a:gd name="T71" fmla="*/ 10 h 242"/>
                <a:gd name="T72" fmla="*/ 53 w 241"/>
                <a:gd name="T73" fmla="*/ 22 h 242"/>
                <a:gd name="T74" fmla="*/ 35 w 241"/>
                <a:gd name="T75" fmla="*/ 36 h 242"/>
                <a:gd name="T76" fmla="*/ 20 w 241"/>
                <a:gd name="T77" fmla="*/ 54 h 242"/>
                <a:gd name="T78" fmla="*/ 9 w 241"/>
                <a:gd name="T79" fmla="*/ 74 h 242"/>
                <a:gd name="T80" fmla="*/ 2 w 241"/>
                <a:gd name="T81" fmla="*/ 97 h 242"/>
                <a:gd name="T82" fmla="*/ 0 w 241"/>
                <a:gd name="T83" fmla="*/ 122 h 242"/>
                <a:gd name="T84" fmla="*/ 2 w 241"/>
                <a:gd name="T85" fmla="*/ 145 h 242"/>
                <a:gd name="T86" fmla="*/ 9 w 241"/>
                <a:gd name="T87" fmla="*/ 168 h 242"/>
                <a:gd name="T88" fmla="*/ 20 w 241"/>
                <a:gd name="T89" fmla="*/ 188 h 242"/>
                <a:gd name="T90" fmla="*/ 35 w 241"/>
                <a:gd name="T91" fmla="*/ 206 h 242"/>
                <a:gd name="T92" fmla="*/ 53 w 241"/>
                <a:gd name="T93" fmla="*/ 221 h 242"/>
                <a:gd name="T94" fmla="*/ 74 w 241"/>
                <a:gd name="T95" fmla="*/ 232 h 242"/>
                <a:gd name="T96" fmla="*/ 96 w 241"/>
                <a:gd name="T97" fmla="*/ 240 h 242"/>
                <a:gd name="T98" fmla="*/ 120 w 241"/>
                <a:gd name="T99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1" h="242">
                  <a:moveTo>
                    <a:pt x="105" y="77"/>
                  </a:moveTo>
                  <a:lnTo>
                    <a:pt x="106" y="73"/>
                  </a:lnTo>
                  <a:lnTo>
                    <a:pt x="107" y="70"/>
                  </a:lnTo>
                  <a:lnTo>
                    <a:pt x="108" y="68"/>
                  </a:lnTo>
                  <a:lnTo>
                    <a:pt x="110" y="66"/>
                  </a:lnTo>
                  <a:lnTo>
                    <a:pt x="112" y="64"/>
                  </a:lnTo>
                  <a:lnTo>
                    <a:pt x="114" y="63"/>
                  </a:lnTo>
                  <a:lnTo>
                    <a:pt x="118" y="62"/>
                  </a:lnTo>
                  <a:lnTo>
                    <a:pt x="120" y="62"/>
                  </a:lnTo>
                  <a:lnTo>
                    <a:pt x="123" y="62"/>
                  </a:lnTo>
                  <a:lnTo>
                    <a:pt x="126" y="63"/>
                  </a:lnTo>
                  <a:lnTo>
                    <a:pt x="128" y="64"/>
                  </a:lnTo>
                  <a:lnTo>
                    <a:pt x="130" y="66"/>
                  </a:lnTo>
                  <a:lnTo>
                    <a:pt x="133" y="68"/>
                  </a:lnTo>
                  <a:lnTo>
                    <a:pt x="134" y="70"/>
                  </a:lnTo>
                  <a:lnTo>
                    <a:pt x="135" y="73"/>
                  </a:lnTo>
                  <a:lnTo>
                    <a:pt x="135" y="77"/>
                  </a:lnTo>
                  <a:lnTo>
                    <a:pt x="135" y="167"/>
                  </a:lnTo>
                  <a:lnTo>
                    <a:pt x="135" y="170"/>
                  </a:lnTo>
                  <a:lnTo>
                    <a:pt x="134" y="172"/>
                  </a:lnTo>
                  <a:lnTo>
                    <a:pt x="133" y="175"/>
                  </a:lnTo>
                  <a:lnTo>
                    <a:pt x="130" y="177"/>
                  </a:lnTo>
                  <a:lnTo>
                    <a:pt x="128" y="178"/>
                  </a:lnTo>
                  <a:lnTo>
                    <a:pt x="126" y="181"/>
                  </a:lnTo>
                  <a:lnTo>
                    <a:pt x="123" y="182"/>
                  </a:lnTo>
                  <a:lnTo>
                    <a:pt x="120" y="182"/>
                  </a:lnTo>
                  <a:lnTo>
                    <a:pt x="118" y="182"/>
                  </a:lnTo>
                  <a:lnTo>
                    <a:pt x="114" y="181"/>
                  </a:lnTo>
                  <a:lnTo>
                    <a:pt x="112" y="178"/>
                  </a:lnTo>
                  <a:lnTo>
                    <a:pt x="110" y="177"/>
                  </a:lnTo>
                  <a:lnTo>
                    <a:pt x="108" y="175"/>
                  </a:lnTo>
                  <a:lnTo>
                    <a:pt x="107" y="172"/>
                  </a:lnTo>
                  <a:lnTo>
                    <a:pt x="106" y="170"/>
                  </a:lnTo>
                  <a:lnTo>
                    <a:pt x="105" y="167"/>
                  </a:lnTo>
                  <a:lnTo>
                    <a:pt x="105" y="77"/>
                  </a:lnTo>
                  <a:close/>
                  <a:moveTo>
                    <a:pt x="120" y="242"/>
                  </a:moveTo>
                  <a:lnTo>
                    <a:pt x="133" y="241"/>
                  </a:lnTo>
                  <a:lnTo>
                    <a:pt x="144" y="240"/>
                  </a:lnTo>
                  <a:lnTo>
                    <a:pt x="156" y="236"/>
                  </a:lnTo>
                  <a:lnTo>
                    <a:pt x="167" y="232"/>
                  </a:lnTo>
                  <a:lnTo>
                    <a:pt x="178" y="227"/>
                  </a:lnTo>
                  <a:lnTo>
                    <a:pt x="187" y="221"/>
                  </a:lnTo>
                  <a:lnTo>
                    <a:pt x="197" y="214"/>
                  </a:lnTo>
                  <a:lnTo>
                    <a:pt x="206" y="206"/>
                  </a:lnTo>
                  <a:lnTo>
                    <a:pt x="213" y="198"/>
                  </a:lnTo>
                  <a:lnTo>
                    <a:pt x="221" y="188"/>
                  </a:lnTo>
                  <a:lnTo>
                    <a:pt x="226" y="178"/>
                  </a:lnTo>
                  <a:lnTo>
                    <a:pt x="231" y="168"/>
                  </a:lnTo>
                  <a:lnTo>
                    <a:pt x="236" y="157"/>
                  </a:lnTo>
                  <a:lnTo>
                    <a:pt x="238" y="145"/>
                  </a:lnTo>
                  <a:lnTo>
                    <a:pt x="240" y="133"/>
                  </a:lnTo>
                  <a:lnTo>
                    <a:pt x="241" y="122"/>
                  </a:lnTo>
                  <a:lnTo>
                    <a:pt x="240" y="109"/>
                  </a:lnTo>
                  <a:lnTo>
                    <a:pt x="238" y="97"/>
                  </a:lnTo>
                  <a:lnTo>
                    <a:pt x="236" y="85"/>
                  </a:lnTo>
                  <a:lnTo>
                    <a:pt x="231" y="74"/>
                  </a:lnTo>
                  <a:lnTo>
                    <a:pt x="226" y="64"/>
                  </a:lnTo>
                  <a:lnTo>
                    <a:pt x="221" y="54"/>
                  </a:lnTo>
                  <a:lnTo>
                    <a:pt x="213" y="44"/>
                  </a:lnTo>
                  <a:lnTo>
                    <a:pt x="206" y="36"/>
                  </a:lnTo>
                  <a:lnTo>
                    <a:pt x="197" y="28"/>
                  </a:lnTo>
                  <a:lnTo>
                    <a:pt x="187" y="22"/>
                  </a:lnTo>
                  <a:lnTo>
                    <a:pt x="178" y="15"/>
                  </a:lnTo>
                  <a:lnTo>
                    <a:pt x="167" y="10"/>
                  </a:lnTo>
                  <a:lnTo>
                    <a:pt x="156" y="7"/>
                  </a:lnTo>
                  <a:lnTo>
                    <a:pt x="144" y="4"/>
                  </a:lnTo>
                  <a:lnTo>
                    <a:pt x="133" y="2"/>
                  </a:lnTo>
                  <a:lnTo>
                    <a:pt x="120" y="0"/>
                  </a:lnTo>
                  <a:lnTo>
                    <a:pt x="108" y="2"/>
                  </a:lnTo>
                  <a:lnTo>
                    <a:pt x="96" y="4"/>
                  </a:lnTo>
                  <a:lnTo>
                    <a:pt x="84" y="6"/>
                  </a:lnTo>
                  <a:lnTo>
                    <a:pt x="74" y="10"/>
                  </a:lnTo>
                  <a:lnTo>
                    <a:pt x="63" y="15"/>
                  </a:lnTo>
                  <a:lnTo>
                    <a:pt x="53" y="22"/>
                  </a:lnTo>
                  <a:lnTo>
                    <a:pt x="44" y="28"/>
                  </a:lnTo>
                  <a:lnTo>
                    <a:pt x="35" y="36"/>
                  </a:lnTo>
                  <a:lnTo>
                    <a:pt x="27" y="44"/>
                  </a:lnTo>
                  <a:lnTo>
                    <a:pt x="20" y="54"/>
                  </a:lnTo>
                  <a:lnTo>
                    <a:pt x="15" y="64"/>
                  </a:lnTo>
                  <a:lnTo>
                    <a:pt x="9" y="74"/>
                  </a:lnTo>
                  <a:lnTo>
                    <a:pt x="5" y="85"/>
                  </a:lnTo>
                  <a:lnTo>
                    <a:pt x="2" y="97"/>
                  </a:lnTo>
                  <a:lnTo>
                    <a:pt x="1" y="109"/>
                  </a:lnTo>
                  <a:lnTo>
                    <a:pt x="0" y="122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5" y="157"/>
                  </a:lnTo>
                  <a:lnTo>
                    <a:pt x="9" y="168"/>
                  </a:lnTo>
                  <a:lnTo>
                    <a:pt x="15" y="178"/>
                  </a:lnTo>
                  <a:lnTo>
                    <a:pt x="20" y="188"/>
                  </a:lnTo>
                  <a:lnTo>
                    <a:pt x="27" y="198"/>
                  </a:lnTo>
                  <a:lnTo>
                    <a:pt x="35" y="206"/>
                  </a:lnTo>
                  <a:lnTo>
                    <a:pt x="44" y="214"/>
                  </a:lnTo>
                  <a:lnTo>
                    <a:pt x="53" y="221"/>
                  </a:lnTo>
                  <a:lnTo>
                    <a:pt x="63" y="227"/>
                  </a:lnTo>
                  <a:lnTo>
                    <a:pt x="74" y="232"/>
                  </a:lnTo>
                  <a:lnTo>
                    <a:pt x="84" y="236"/>
                  </a:lnTo>
                  <a:lnTo>
                    <a:pt x="96" y="240"/>
                  </a:lnTo>
                  <a:lnTo>
                    <a:pt x="108" y="241"/>
                  </a:lnTo>
                  <a:lnTo>
                    <a:pt x="120" y="2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72" name="Freeform 569">
              <a:extLst>
                <a:ext uri="{FF2B5EF4-FFF2-40B4-BE49-F238E27FC236}">
                  <a16:creationId xmlns:a16="http://schemas.microsoft.com/office/drawing/2014/main" id="{5446D7B6-8208-48C2-9958-A37755FFE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763" y="1517650"/>
              <a:ext cx="57150" cy="95250"/>
            </a:xfrm>
            <a:custGeom>
              <a:avLst/>
              <a:gdLst>
                <a:gd name="T0" fmla="*/ 165 w 180"/>
                <a:gd name="T1" fmla="*/ 0 h 302"/>
                <a:gd name="T2" fmla="*/ 15 w 180"/>
                <a:gd name="T3" fmla="*/ 0 h 302"/>
                <a:gd name="T4" fmla="*/ 12 w 180"/>
                <a:gd name="T5" fmla="*/ 0 h 302"/>
                <a:gd name="T6" fmla="*/ 9 w 180"/>
                <a:gd name="T7" fmla="*/ 1 h 302"/>
                <a:gd name="T8" fmla="*/ 6 w 180"/>
                <a:gd name="T9" fmla="*/ 2 h 302"/>
                <a:gd name="T10" fmla="*/ 4 w 180"/>
                <a:gd name="T11" fmla="*/ 4 h 302"/>
                <a:gd name="T12" fmla="*/ 2 w 180"/>
                <a:gd name="T13" fmla="*/ 7 h 302"/>
                <a:gd name="T14" fmla="*/ 1 w 180"/>
                <a:gd name="T15" fmla="*/ 9 h 302"/>
                <a:gd name="T16" fmla="*/ 0 w 180"/>
                <a:gd name="T17" fmla="*/ 12 h 302"/>
                <a:gd name="T18" fmla="*/ 0 w 180"/>
                <a:gd name="T19" fmla="*/ 15 h 302"/>
                <a:gd name="T20" fmla="*/ 0 w 180"/>
                <a:gd name="T21" fmla="*/ 287 h 302"/>
                <a:gd name="T22" fmla="*/ 0 w 180"/>
                <a:gd name="T23" fmla="*/ 289 h 302"/>
                <a:gd name="T24" fmla="*/ 1 w 180"/>
                <a:gd name="T25" fmla="*/ 292 h 302"/>
                <a:gd name="T26" fmla="*/ 2 w 180"/>
                <a:gd name="T27" fmla="*/ 294 h 302"/>
                <a:gd name="T28" fmla="*/ 4 w 180"/>
                <a:gd name="T29" fmla="*/ 296 h 302"/>
                <a:gd name="T30" fmla="*/ 6 w 180"/>
                <a:gd name="T31" fmla="*/ 298 h 302"/>
                <a:gd name="T32" fmla="*/ 9 w 180"/>
                <a:gd name="T33" fmla="*/ 299 h 302"/>
                <a:gd name="T34" fmla="*/ 12 w 180"/>
                <a:gd name="T35" fmla="*/ 301 h 302"/>
                <a:gd name="T36" fmla="*/ 15 w 180"/>
                <a:gd name="T37" fmla="*/ 302 h 302"/>
                <a:gd name="T38" fmla="*/ 165 w 180"/>
                <a:gd name="T39" fmla="*/ 302 h 302"/>
                <a:gd name="T40" fmla="*/ 168 w 180"/>
                <a:gd name="T41" fmla="*/ 301 h 302"/>
                <a:gd name="T42" fmla="*/ 172 w 180"/>
                <a:gd name="T43" fmla="*/ 299 h 302"/>
                <a:gd name="T44" fmla="*/ 174 w 180"/>
                <a:gd name="T45" fmla="*/ 298 h 302"/>
                <a:gd name="T46" fmla="*/ 176 w 180"/>
                <a:gd name="T47" fmla="*/ 296 h 302"/>
                <a:gd name="T48" fmla="*/ 178 w 180"/>
                <a:gd name="T49" fmla="*/ 294 h 302"/>
                <a:gd name="T50" fmla="*/ 179 w 180"/>
                <a:gd name="T51" fmla="*/ 292 h 302"/>
                <a:gd name="T52" fmla="*/ 180 w 180"/>
                <a:gd name="T53" fmla="*/ 289 h 302"/>
                <a:gd name="T54" fmla="*/ 180 w 180"/>
                <a:gd name="T55" fmla="*/ 287 h 302"/>
                <a:gd name="T56" fmla="*/ 180 w 180"/>
                <a:gd name="T57" fmla="*/ 15 h 302"/>
                <a:gd name="T58" fmla="*/ 180 w 180"/>
                <a:gd name="T59" fmla="*/ 12 h 302"/>
                <a:gd name="T60" fmla="*/ 179 w 180"/>
                <a:gd name="T61" fmla="*/ 9 h 302"/>
                <a:gd name="T62" fmla="*/ 178 w 180"/>
                <a:gd name="T63" fmla="*/ 7 h 302"/>
                <a:gd name="T64" fmla="*/ 176 w 180"/>
                <a:gd name="T65" fmla="*/ 4 h 302"/>
                <a:gd name="T66" fmla="*/ 174 w 180"/>
                <a:gd name="T67" fmla="*/ 2 h 302"/>
                <a:gd name="T68" fmla="*/ 172 w 180"/>
                <a:gd name="T69" fmla="*/ 1 h 302"/>
                <a:gd name="T70" fmla="*/ 168 w 180"/>
                <a:gd name="T71" fmla="*/ 0 h 302"/>
                <a:gd name="T72" fmla="*/ 165 w 180"/>
                <a:gd name="T7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0" h="302">
                  <a:moveTo>
                    <a:pt x="16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87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6"/>
                  </a:lnTo>
                  <a:lnTo>
                    <a:pt x="6" y="298"/>
                  </a:lnTo>
                  <a:lnTo>
                    <a:pt x="9" y="299"/>
                  </a:lnTo>
                  <a:lnTo>
                    <a:pt x="12" y="301"/>
                  </a:lnTo>
                  <a:lnTo>
                    <a:pt x="15" y="302"/>
                  </a:lnTo>
                  <a:lnTo>
                    <a:pt x="165" y="302"/>
                  </a:lnTo>
                  <a:lnTo>
                    <a:pt x="168" y="301"/>
                  </a:lnTo>
                  <a:lnTo>
                    <a:pt x="172" y="299"/>
                  </a:lnTo>
                  <a:lnTo>
                    <a:pt x="174" y="298"/>
                  </a:lnTo>
                  <a:lnTo>
                    <a:pt x="176" y="296"/>
                  </a:lnTo>
                  <a:lnTo>
                    <a:pt x="178" y="294"/>
                  </a:lnTo>
                  <a:lnTo>
                    <a:pt x="179" y="292"/>
                  </a:lnTo>
                  <a:lnTo>
                    <a:pt x="180" y="289"/>
                  </a:lnTo>
                  <a:lnTo>
                    <a:pt x="180" y="287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73" name="Freeform 570">
              <a:extLst>
                <a:ext uri="{FF2B5EF4-FFF2-40B4-BE49-F238E27FC236}">
                  <a16:creationId xmlns:a16="http://schemas.microsoft.com/office/drawing/2014/main" id="{B37A71C9-B99B-4829-84B1-46806FD3F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675" y="1527175"/>
              <a:ext cx="225425" cy="104775"/>
            </a:xfrm>
            <a:custGeom>
              <a:avLst/>
              <a:gdLst>
                <a:gd name="T0" fmla="*/ 688 w 708"/>
                <a:gd name="T1" fmla="*/ 110 h 331"/>
                <a:gd name="T2" fmla="*/ 665 w 708"/>
                <a:gd name="T3" fmla="*/ 95 h 331"/>
                <a:gd name="T4" fmla="*/ 644 w 708"/>
                <a:gd name="T5" fmla="*/ 87 h 331"/>
                <a:gd name="T6" fmla="*/ 622 w 708"/>
                <a:gd name="T7" fmla="*/ 85 h 331"/>
                <a:gd name="T8" fmla="*/ 583 w 708"/>
                <a:gd name="T9" fmla="*/ 91 h 331"/>
                <a:gd name="T10" fmla="*/ 502 w 708"/>
                <a:gd name="T11" fmla="*/ 137 h 331"/>
                <a:gd name="T12" fmla="*/ 486 w 708"/>
                <a:gd name="T13" fmla="*/ 162 h 331"/>
                <a:gd name="T14" fmla="*/ 468 w 708"/>
                <a:gd name="T15" fmla="*/ 175 h 331"/>
                <a:gd name="T16" fmla="*/ 445 w 708"/>
                <a:gd name="T17" fmla="*/ 180 h 331"/>
                <a:gd name="T18" fmla="*/ 226 w 708"/>
                <a:gd name="T19" fmla="*/ 180 h 331"/>
                <a:gd name="T20" fmla="*/ 218 w 708"/>
                <a:gd name="T21" fmla="*/ 178 h 331"/>
                <a:gd name="T22" fmla="*/ 213 w 708"/>
                <a:gd name="T23" fmla="*/ 172 h 331"/>
                <a:gd name="T24" fmla="*/ 211 w 708"/>
                <a:gd name="T25" fmla="*/ 162 h 331"/>
                <a:gd name="T26" fmla="*/ 216 w 708"/>
                <a:gd name="T27" fmla="*/ 155 h 331"/>
                <a:gd name="T28" fmla="*/ 223 w 708"/>
                <a:gd name="T29" fmla="*/ 151 h 331"/>
                <a:gd name="T30" fmla="*/ 437 w 708"/>
                <a:gd name="T31" fmla="*/ 150 h 331"/>
                <a:gd name="T32" fmla="*/ 461 w 708"/>
                <a:gd name="T33" fmla="*/ 143 h 331"/>
                <a:gd name="T34" fmla="*/ 475 w 708"/>
                <a:gd name="T35" fmla="*/ 122 h 331"/>
                <a:gd name="T36" fmla="*/ 478 w 708"/>
                <a:gd name="T37" fmla="*/ 102 h 331"/>
                <a:gd name="T38" fmla="*/ 470 w 708"/>
                <a:gd name="T39" fmla="*/ 84 h 331"/>
                <a:gd name="T40" fmla="*/ 451 w 708"/>
                <a:gd name="T41" fmla="*/ 67 h 331"/>
                <a:gd name="T42" fmla="*/ 422 w 708"/>
                <a:gd name="T43" fmla="*/ 60 h 331"/>
                <a:gd name="T44" fmla="*/ 389 w 708"/>
                <a:gd name="T45" fmla="*/ 60 h 331"/>
                <a:gd name="T46" fmla="*/ 365 w 708"/>
                <a:gd name="T47" fmla="*/ 60 h 331"/>
                <a:gd name="T48" fmla="*/ 339 w 708"/>
                <a:gd name="T49" fmla="*/ 60 h 331"/>
                <a:gd name="T50" fmla="*/ 307 w 708"/>
                <a:gd name="T51" fmla="*/ 60 h 331"/>
                <a:gd name="T52" fmla="*/ 246 w 708"/>
                <a:gd name="T53" fmla="*/ 24 h 331"/>
                <a:gd name="T54" fmla="*/ 181 w 708"/>
                <a:gd name="T55" fmla="*/ 3 h 331"/>
                <a:gd name="T56" fmla="*/ 15 w 708"/>
                <a:gd name="T57" fmla="*/ 0 h 331"/>
                <a:gd name="T58" fmla="*/ 8 w 708"/>
                <a:gd name="T59" fmla="*/ 2 h 331"/>
                <a:gd name="T60" fmla="*/ 1 w 708"/>
                <a:gd name="T61" fmla="*/ 10 h 331"/>
                <a:gd name="T62" fmla="*/ 0 w 708"/>
                <a:gd name="T63" fmla="*/ 223 h 331"/>
                <a:gd name="T64" fmla="*/ 7 w 708"/>
                <a:gd name="T65" fmla="*/ 236 h 331"/>
                <a:gd name="T66" fmla="*/ 90 w 708"/>
                <a:gd name="T67" fmla="*/ 265 h 331"/>
                <a:gd name="T68" fmla="*/ 205 w 708"/>
                <a:gd name="T69" fmla="*/ 306 h 331"/>
                <a:gd name="T70" fmla="*/ 281 w 708"/>
                <a:gd name="T71" fmla="*/ 328 h 331"/>
                <a:gd name="T72" fmla="*/ 321 w 708"/>
                <a:gd name="T73" fmla="*/ 331 h 331"/>
                <a:gd name="T74" fmla="*/ 348 w 708"/>
                <a:gd name="T75" fmla="*/ 326 h 331"/>
                <a:gd name="T76" fmla="*/ 408 w 708"/>
                <a:gd name="T77" fmla="*/ 303 h 331"/>
                <a:gd name="T78" fmla="*/ 494 w 708"/>
                <a:gd name="T79" fmla="*/ 258 h 331"/>
                <a:gd name="T80" fmla="*/ 557 w 708"/>
                <a:gd name="T81" fmla="*/ 223 h 331"/>
                <a:gd name="T82" fmla="*/ 636 w 708"/>
                <a:gd name="T83" fmla="*/ 181 h 331"/>
                <a:gd name="T84" fmla="*/ 703 w 708"/>
                <a:gd name="T85" fmla="*/ 147 h 331"/>
                <a:gd name="T86" fmla="*/ 708 w 708"/>
                <a:gd name="T87" fmla="*/ 139 h 331"/>
                <a:gd name="T88" fmla="*/ 706 w 708"/>
                <a:gd name="T89" fmla="*/ 12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08" h="331">
                  <a:moveTo>
                    <a:pt x="704" y="125"/>
                  </a:moveTo>
                  <a:lnTo>
                    <a:pt x="695" y="117"/>
                  </a:lnTo>
                  <a:lnTo>
                    <a:pt x="688" y="110"/>
                  </a:lnTo>
                  <a:lnTo>
                    <a:pt x="680" y="104"/>
                  </a:lnTo>
                  <a:lnTo>
                    <a:pt x="673" y="99"/>
                  </a:lnTo>
                  <a:lnTo>
                    <a:pt x="665" y="95"/>
                  </a:lnTo>
                  <a:lnTo>
                    <a:pt x="658" y="91"/>
                  </a:lnTo>
                  <a:lnTo>
                    <a:pt x="650" y="89"/>
                  </a:lnTo>
                  <a:lnTo>
                    <a:pt x="644" y="87"/>
                  </a:lnTo>
                  <a:lnTo>
                    <a:pt x="636" y="85"/>
                  </a:lnTo>
                  <a:lnTo>
                    <a:pt x="629" y="85"/>
                  </a:lnTo>
                  <a:lnTo>
                    <a:pt x="622" y="85"/>
                  </a:lnTo>
                  <a:lnTo>
                    <a:pt x="615" y="85"/>
                  </a:lnTo>
                  <a:lnTo>
                    <a:pt x="599" y="88"/>
                  </a:lnTo>
                  <a:lnTo>
                    <a:pt x="583" y="91"/>
                  </a:lnTo>
                  <a:lnTo>
                    <a:pt x="507" y="115"/>
                  </a:lnTo>
                  <a:lnTo>
                    <a:pt x="505" y="127"/>
                  </a:lnTo>
                  <a:lnTo>
                    <a:pt x="502" y="137"/>
                  </a:lnTo>
                  <a:lnTo>
                    <a:pt x="497" y="147"/>
                  </a:lnTo>
                  <a:lnTo>
                    <a:pt x="491" y="157"/>
                  </a:lnTo>
                  <a:lnTo>
                    <a:pt x="486" y="162"/>
                  </a:lnTo>
                  <a:lnTo>
                    <a:pt x="480" y="166"/>
                  </a:lnTo>
                  <a:lnTo>
                    <a:pt x="474" y="171"/>
                  </a:lnTo>
                  <a:lnTo>
                    <a:pt x="468" y="175"/>
                  </a:lnTo>
                  <a:lnTo>
                    <a:pt x="460" y="177"/>
                  </a:lnTo>
                  <a:lnTo>
                    <a:pt x="453" y="179"/>
                  </a:lnTo>
                  <a:lnTo>
                    <a:pt x="445" y="180"/>
                  </a:lnTo>
                  <a:lnTo>
                    <a:pt x="437" y="180"/>
                  </a:lnTo>
                  <a:lnTo>
                    <a:pt x="422" y="180"/>
                  </a:lnTo>
                  <a:lnTo>
                    <a:pt x="226" y="180"/>
                  </a:lnTo>
                  <a:lnTo>
                    <a:pt x="223" y="180"/>
                  </a:lnTo>
                  <a:lnTo>
                    <a:pt x="220" y="179"/>
                  </a:lnTo>
                  <a:lnTo>
                    <a:pt x="218" y="178"/>
                  </a:lnTo>
                  <a:lnTo>
                    <a:pt x="216" y="176"/>
                  </a:lnTo>
                  <a:lnTo>
                    <a:pt x="214" y="174"/>
                  </a:lnTo>
                  <a:lnTo>
                    <a:pt x="213" y="172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11" y="162"/>
                  </a:lnTo>
                  <a:lnTo>
                    <a:pt x="213" y="160"/>
                  </a:lnTo>
                  <a:lnTo>
                    <a:pt x="214" y="157"/>
                  </a:lnTo>
                  <a:lnTo>
                    <a:pt x="216" y="155"/>
                  </a:lnTo>
                  <a:lnTo>
                    <a:pt x="218" y="154"/>
                  </a:lnTo>
                  <a:lnTo>
                    <a:pt x="220" y="151"/>
                  </a:lnTo>
                  <a:lnTo>
                    <a:pt x="223" y="151"/>
                  </a:lnTo>
                  <a:lnTo>
                    <a:pt x="226" y="150"/>
                  </a:lnTo>
                  <a:lnTo>
                    <a:pt x="422" y="150"/>
                  </a:lnTo>
                  <a:lnTo>
                    <a:pt x="437" y="150"/>
                  </a:lnTo>
                  <a:lnTo>
                    <a:pt x="446" y="149"/>
                  </a:lnTo>
                  <a:lnTo>
                    <a:pt x="455" y="147"/>
                  </a:lnTo>
                  <a:lnTo>
                    <a:pt x="461" y="143"/>
                  </a:lnTo>
                  <a:lnTo>
                    <a:pt x="468" y="137"/>
                  </a:lnTo>
                  <a:lnTo>
                    <a:pt x="472" y="130"/>
                  </a:lnTo>
                  <a:lnTo>
                    <a:pt x="475" y="122"/>
                  </a:lnTo>
                  <a:lnTo>
                    <a:pt x="477" y="114"/>
                  </a:lnTo>
                  <a:lnTo>
                    <a:pt x="478" y="105"/>
                  </a:lnTo>
                  <a:lnTo>
                    <a:pt x="478" y="102"/>
                  </a:lnTo>
                  <a:lnTo>
                    <a:pt x="478" y="98"/>
                  </a:lnTo>
                  <a:lnTo>
                    <a:pt x="474" y="90"/>
                  </a:lnTo>
                  <a:lnTo>
                    <a:pt x="470" y="84"/>
                  </a:lnTo>
                  <a:lnTo>
                    <a:pt x="465" y="76"/>
                  </a:lnTo>
                  <a:lnTo>
                    <a:pt x="458" y="71"/>
                  </a:lnTo>
                  <a:lnTo>
                    <a:pt x="451" y="67"/>
                  </a:lnTo>
                  <a:lnTo>
                    <a:pt x="442" y="63"/>
                  </a:lnTo>
                  <a:lnTo>
                    <a:pt x="432" y="61"/>
                  </a:lnTo>
                  <a:lnTo>
                    <a:pt x="422" y="60"/>
                  </a:lnTo>
                  <a:lnTo>
                    <a:pt x="410" y="60"/>
                  </a:lnTo>
                  <a:lnTo>
                    <a:pt x="399" y="60"/>
                  </a:lnTo>
                  <a:lnTo>
                    <a:pt x="389" y="60"/>
                  </a:lnTo>
                  <a:lnTo>
                    <a:pt x="381" y="60"/>
                  </a:lnTo>
                  <a:lnTo>
                    <a:pt x="373" y="60"/>
                  </a:lnTo>
                  <a:lnTo>
                    <a:pt x="365" y="60"/>
                  </a:lnTo>
                  <a:lnTo>
                    <a:pt x="356" y="60"/>
                  </a:lnTo>
                  <a:lnTo>
                    <a:pt x="349" y="60"/>
                  </a:lnTo>
                  <a:lnTo>
                    <a:pt x="339" y="60"/>
                  </a:lnTo>
                  <a:lnTo>
                    <a:pt x="330" y="60"/>
                  </a:lnTo>
                  <a:lnTo>
                    <a:pt x="320" y="60"/>
                  </a:lnTo>
                  <a:lnTo>
                    <a:pt x="307" y="60"/>
                  </a:lnTo>
                  <a:lnTo>
                    <a:pt x="288" y="46"/>
                  </a:lnTo>
                  <a:lnTo>
                    <a:pt x="267" y="33"/>
                  </a:lnTo>
                  <a:lnTo>
                    <a:pt x="246" y="24"/>
                  </a:lnTo>
                  <a:lnTo>
                    <a:pt x="225" y="15"/>
                  </a:lnTo>
                  <a:lnTo>
                    <a:pt x="204" y="9"/>
                  </a:lnTo>
                  <a:lnTo>
                    <a:pt x="181" y="3"/>
                  </a:lnTo>
                  <a:lnTo>
                    <a:pt x="159" y="1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223"/>
                  </a:lnTo>
                  <a:lnTo>
                    <a:pt x="1" y="229"/>
                  </a:lnTo>
                  <a:lnTo>
                    <a:pt x="3" y="232"/>
                  </a:lnTo>
                  <a:lnTo>
                    <a:pt x="7" y="236"/>
                  </a:lnTo>
                  <a:lnTo>
                    <a:pt x="11" y="238"/>
                  </a:lnTo>
                  <a:lnTo>
                    <a:pt x="53" y="252"/>
                  </a:lnTo>
                  <a:lnTo>
                    <a:pt x="90" y="265"/>
                  </a:lnTo>
                  <a:lnTo>
                    <a:pt x="123" y="277"/>
                  </a:lnTo>
                  <a:lnTo>
                    <a:pt x="154" y="288"/>
                  </a:lnTo>
                  <a:lnTo>
                    <a:pt x="205" y="306"/>
                  </a:lnTo>
                  <a:lnTo>
                    <a:pt x="247" y="320"/>
                  </a:lnTo>
                  <a:lnTo>
                    <a:pt x="264" y="325"/>
                  </a:lnTo>
                  <a:lnTo>
                    <a:pt x="281" y="328"/>
                  </a:lnTo>
                  <a:lnTo>
                    <a:pt x="296" y="331"/>
                  </a:lnTo>
                  <a:lnTo>
                    <a:pt x="311" y="331"/>
                  </a:lnTo>
                  <a:lnTo>
                    <a:pt x="321" y="331"/>
                  </a:lnTo>
                  <a:lnTo>
                    <a:pt x="329" y="329"/>
                  </a:lnTo>
                  <a:lnTo>
                    <a:pt x="338" y="328"/>
                  </a:lnTo>
                  <a:lnTo>
                    <a:pt x="348" y="326"/>
                  </a:lnTo>
                  <a:lnTo>
                    <a:pt x="366" y="321"/>
                  </a:lnTo>
                  <a:lnTo>
                    <a:pt x="386" y="313"/>
                  </a:lnTo>
                  <a:lnTo>
                    <a:pt x="408" y="303"/>
                  </a:lnTo>
                  <a:lnTo>
                    <a:pt x="433" y="291"/>
                  </a:lnTo>
                  <a:lnTo>
                    <a:pt x="461" y="276"/>
                  </a:lnTo>
                  <a:lnTo>
                    <a:pt x="494" y="258"/>
                  </a:lnTo>
                  <a:lnTo>
                    <a:pt x="513" y="247"/>
                  </a:lnTo>
                  <a:lnTo>
                    <a:pt x="533" y="236"/>
                  </a:lnTo>
                  <a:lnTo>
                    <a:pt x="557" y="223"/>
                  </a:lnTo>
                  <a:lnTo>
                    <a:pt x="581" y="210"/>
                  </a:lnTo>
                  <a:lnTo>
                    <a:pt x="607" y="196"/>
                  </a:lnTo>
                  <a:lnTo>
                    <a:pt x="636" y="181"/>
                  </a:lnTo>
                  <a:lnTo>
                    <a:pt x="667" y="165"/>
                  </a:lnTo>
                  <a:lnTo>
                    <a:pt x="699" y="149"/>
                  </a:lnTo>
                  <a:lnTo>
                    <a:pt x="703" y="147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08" y="139"/>
                  </a:lnTo>
                  <a:lnTo>
                    <a:pt x="708" y="134"/>
                  </a:lnTo>
                  <a:lnTo>
                    <a:pt x="707" y="131"/>
                  </a:lnTo>
                  <a:lnTo>
                    <a:pt x="706" y="128"/>
                  </a:lnTo>
                  <a:lnTo>
                    <a:pt x="704" y="125"/>
                  </a:lnTo>
                  <a:lnTo>
                    <a:pt x="70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45" name="Group 4">
            <a:extLst>
              <a:ext uri="{FF2B5EF4-FFF2-40B4-BE49-F238E27FC236}">
                <a16:creationId xmlns:a16="http://schemas.microsoft.com/office/drawing/2014/main" id="{B3588636-BD99-4376-BE71-7D5AE32250A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63769" y="2144735"/>
            <a:ext cx="519403" cy="308648"/>
            <a:chOff x="1792" y="943"/>
            <a:chExt cx="4096" cy="2434"/>
          </a:xfrm>
          <a:solidFill>
            <a:schemeClr val="accent1"/>
          </a:solidFill>
        </p:grpSpPr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id="{BA895A8B-6F37-4465-95CD-F98C62BF5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0" y="943"/>
              <a:ext cx="2172" cy="1666"/>
            </a:xfrm>
            <a:custGeom>
              <a:avLst/>
              <a:gdLst>
                <a:gd name="T0" fmla="*/ 2172 w 2172"/>
                <a:gd name="T1" fmla="*/ 1666 h 1666"/>
                <a:gd name="T2" fmla="*/ 1908 w 2172"/>
                <a:gd name="T3" fmla="*/ 1666 h 1666"/>
                <a:gd name="T4" fmla="*/ 1888 w 2172"/>
                <a:gd name="T5" fmla="*/ 1662 h 1666"/>
                <a:gd name="T6" fmla="*/ 1854 w 2172"/>
                <a:gd name="T7" fmla="*/ 1648 h 1666"/>
                <a:gd name="T8" fmla="*/ 1810 w 2172"/>
                <a:gd name="T9" fmla="*/ 1616 h 1666"/>
                <a:gd name="T10" fmla="*/ 1784 w 2172"/>
                <a:gd name="T11" fmla="*/ 1588 h 1666"/>
                <a:gd name="T12" fmla="*/ 1320 w 2172"/>
                <a:gd name="T13" fmla="*/ 1086 h 1666"/>
                <a:gd name="T14" fmla="*/ 912 w 2172"/>
                <a:gd name="T15" fmla="*/ 646 h 1666"/>
                <a:gd name="T16" fmla="*/ 898 w 2172"/>
                <a:gd name="T17" fmla="*/ 640 h 1666"/>
                <a:gd name="T18" fmla="*/ 880 w 2172"/>
                <a:gd name="T19" fmla="*/ 638 h 1666"/>
                <a:gd name="T20" fmla="*/ 858 w 2172"/>
                <a:gd name="T21" fmla="*/ 646 h 1666"/>
                <a:gd name="T22" fmla="*/ 548 w 2172"/>
                <a:gd name="T23" fmla="*/ 824 h 1666"/>
                <a:gd name="T24" fmla="*/ 264 w 2172"/>
                <a:gd name="T25" fmla="*/ 990 h 1666"/>
                <a:gd name="T26" fmla="*/ 230 w 2172"/>
                <a:gd name="T27" fmla="*/ 1004 h 1666"/>
                <a:gd name="T28" fmla="*/ 194 w 2172"/>
                <a:gd name="T29" fmla="*/ 1012 h 1666"/>
                <a:gd name="T30" fmla="*/ 166 w 2172"/>
                <a:gd name="T31" fmla="*/ 1010 h 1666"/>
                <a:gd name="T32" fmla="*/ 138 w 2172"/>
                <a:gd name="T33" fmla="*/ 1002 h 1666"/>
                <a:gd name="T34" fmla="*/ 110 w 2172"/>
                <a:gd name="T35" fmla="*/ 982 h 1666"/>
                <a:gd name="T36" fmla="*/ 96 w 2172"/>
                <a:gd name="T37" fmla="*/ 968 h 1666"/>
                <a:gd name="T38" fmla="*/ 50 w 2172"/>
                <a:gd name="T39" fmla="*/ 906 h 1666"/>
                <a:gd name="T40" fmla="*/ 16 w 2172"/>
                <a:gd name="T41" fmla="*/ 850 h 1666"/>
                <a:gd name="T42" fmla="*/ 0 w 2172"/>
                <a:gd name="T43" fmla="*/ 802 h 1666"/>
                <a:gd name="T44" fmla="*/ 0 w 2172"/>
                <a:gd name="T45" fmla="*/ 782 h 1666"/>
                <a:gd name="T46" fmla="*/ 4 w 2172"/>
                <a:gd name="T47" fmla="*/ 766 h 1666"/>
                <a:gd name="T48" fmla="*/ 12 w 2172"/>
                <a:gd name="T49" fmla="*/ 754 h 1666"/>
                <a:gd name="T50" fmla="*/ 88 w 2172"/>
                <a:gd name="T51" fmla="*/ 678 h 1666"/>
                <a:gd name="T52" fmla="*/ 262 w 2172"/>
                <a:gd name="T53" fmla="*/ 520 h 1666"/>
                <a:gd name="T54" fmla="*/ 592 w 2172"/>
                <a:gd name="T55" fmla="*/ 222 h 1666"/>
                <a:gd name="T56" fmla="*/ 680 w 2172"/>
                <a:gd name="T57" fmla="*/ 146 h 1666"/>
                <a:gd name="T58" fmla="*/ 830 w 2172"/>
                <a:gd name="T59" fmla="*/ 34 h 1666"/>
                <a:gd name="T60" fmla="*/ 866 w 2172"/>
                <a:gd name="T61" fmla="*/ 10 h 1666"/>
                <a:gd name="T62" fmla="*/ 884 w 2172"/>
                <a:gd name="T63" fmla="*/ 2 h 1666"/>
                <a:gd name="T64" fmla="*/ 906 w 2172"/>
                <a:gd name="T65" fmla="*/ 2 h 1666"/>
                <a:gd name="T66" fmla="*/ 934 w 2172"/>
                <a:gd name="T67" fmla="*/ 10 h 1666"/>
                <a:gd name="T68" fmla="*/ 966 w 2172"/>
                <a:gd name="T69" fmla="*/ 26 h 1666"/>
                <a:gd name="T70" fmla="*/ 1354 w 2172"/>
                <a:gd name="T71" fmla="*/ 248 h 1666"/>
                <a:gd name="T72" fmla="*/ 1720 w 2172"/>
                <a:gd name="T73" fmla="*/ 464 h 1666"/>
                <a:gd name="T74" fmla="*/ 1784 w 2172"/>
                <a:gd name="T75" fmla="*/ 502 h 1666"/>
                <a:gd name="T76" fmla="*/ 1926 w 2172"/>
                <a:gd name="T77" fmla="*/ 594 h 1666"/>
                <a:gd name="T78" fmla="*/ 1984 w 2172"/>
                <a:gd name="T79" fmla="*/ 626 h 1666"/>
                <a:gd name="T80" fmla="*/ 2026 w 2172"/>
                <a:gd name="T81" fmla="*/ 640 h 1666"/>
                <a:gd name="T82" fmla="*/ 2066 w 2172"/>
                <a:gd name="T83" fmla="*/ 644 h 1666"/>
                <a:gd name="T84" fmla="*/ 2172 w 2172"/>
                <a:gd name="T85" fmla="*/ 646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72" h="1666">
                  <a:moveTo>
                    <a:pt x="2172" y="646"/>
                  </a:moveTo>
                  <a:lnTo>
                    <a:pt x="2172" y="1666"/>
                  </a:lnTo>
                  <a:lnTo>
                    <a:pt x="1908" y="1666"/>
                  </a:lnTo>
                  <a:lnTo>
                    <a:pt x="1908" y="1666"/>
                  </a:lnTo>
                  <a:lnTo>
                    <a:pt x="1900" y="1664"/>
                  </a:lnTo>
                  <a:lnTo>
                    <a:pt x="1888" y="1662"/>
                  </a:lnTo>
                  <a:lnTo>
                    <a:pt x="1874" y="1658"/>
                  </a:lnTo>
                  <a:lnTo>
                    <a:pt x="1854" y="1648"/>
                  </a:lnTo>
                  <a:lnTo>
                    <a:pt x="1834" y="1634"/>
                  </a:lnTo>
                  <a:lnTo>
                    <a:pt x="1810" y="1616"/>
                  </a:lnTo>
                  <a:lnTo>
                    <a:pt x="1784" y="1588"/>
                  </a:lnTo>
                  <a:lnTo>
                    <a:pt x="1784" y="1588"/>
                  </a:lnTo>
                  <a:lnTo>
                    <a:pt x="1616" y="1406"/>
                  </a:lnTo>
                  <a:lnTo>
                    <a:pt x="1320" y="1086"/>
                  </a:lnTo>
                  <a:lnTo>
                    <a:pt x="912" y="646"/>
                  </a:lnTo>
                  <a:lnTo>
                    <a:pt x="912" y="646"/>
                  </a:lnTo>
                  <a:lnTo>
                    <a:pt x="908" y="644"/>
                  </a:lnTo>
                  <a:lnTo>
                    <a:pt x="898" y="640"/>
                  </a:lnTo>
                  <a:lnTo>
                    <a:pt x="890" y="638"/>
                  </a:lnTo>
                  <a:lnTo>
                    <a:pt x="880" y="638"/>
                  </a:lnTo>
                  <a:lnTo>
                    <a:pt x="870" y="642"/>
                  </a:lnTo>
                  <a:lnTo>
                    <a:pt x="858" y="646"/>
                  </a:lnTo>
                  <a:lnTo>
                    <a:pt x="858" y="646"/>
                  </a:lnTo>
                  <a:lnTo>
                    <a:pt x="548" y="824"/>
                  </a:lnTo>
                  <a:lnTo>
                    <a:pt x="264" y="990"/>
                  </a:lnTo>
                  <a:lnTo>
                    <a:pt x="264" y="990"/>
                  </a:lnTo>
                  <a:lnTo>
                    <a:pt x="248" y="998"/>
                  </a:lnTo>
                  <a:lnTo>
                    <a:pt x="230" y="1004"/>
                  </a:lnTo>
                  <a:lnTo>
                    <a:pt x="206" y="1010"/>
                  </a:lnTo>
                  <a:lnTo>
                    <a:pt x="194" y="1012"/>
                  </a:lnTo>
                  <a:lnTo>
                    <a:pt x="180" y="1012"/>
                  </a:lnTo>
                  <a:lnTo>
                    <a:pt x="166" y="1010"/>
                  </a:lnTo>
                  <a:lnTo>
                    <a:pt x="152" y="1006"/>
                  </a:lnTo>
                  <a:lnTo>
                    <a:pt x="138" y="1002"/>
                  </a:lnTo>
                  <a:lnTo>
                    <a:pt x="124" y="994"/>
                  </a:lnTo>
                  <a:lnTo>
                    <a:pt x="110" y="982"/>
                  </a:lnTo>
                  <a:lnTo>
                    <a:pt x="96" y="968"/>
                  </a:lnTo>
                  <a:lnTo>
                    <a:pt x="96" y="968"/>
                  </a:lnTo>
                  <a:lnTo>
                    <a:pt x="70" y="936"/>
                  </a:lnTo>
                  <a:lnTo>
                    <a:pt x="50" y="906"/>
                  </a:lnTo>
                  <a:lnTo>
                    <a:pt x="30" y="878"/>
                  </a:lnTo>
                  <a:lnTo>
                    <a:pt x="16" y="850"/>
                  </a:lnTo>
                  <a:lnTo>
                    <a:pt x="6" y="824"/>
                  </a:lnTo>
                  <a:lnTo>
                    <a:pt x="0" y="802"/>
                  </a:lnTo>
                  <a:lnTo>
                    <a:pt x="0" y="792"/>
                  </a:lnTo>
                  <a:lnTo>
                    <a:pt x="0" y="782"/>
                  </a:lnTo>
                  <a:lnTo>
                    <a:pt x="2" y="772"/>
                  </a:lnTo>
                  <a:lnTo>
                    <a:pt x="4" y="766"/>
                  </a:lnTo>
                  <a:lnTo>
                    <a:pt x="4" y="766"/>
                  </a:lnTo>
                  <a:lnTo>
                    <a:pt x="12" y="754"/>
                  </a:lnTo>
                  <a:lnTo>
                    <a:pt x="30" y="734"/>
                  </a:lnTo>
                  <a:lnTo>
                    <a:pt x="88" y="678"/>
                  </a:lnTo>
                  <a:lnTo>
                    <a:pt x="168" y="604"/>
                  </a:lnTo>
                  <a:lnTo>
                    <a:pt x="262" y="520"/>
                  </a:lnTo>
                  <a:lnTo>
                    <a:pt x="592" y="222"/>
                  </a:lnTo>
                  <a:lnTo>
                    <a:pt x="592" y="222"/>
                  </a:lnTo>
                  <a:lnTo>
                    <a:pt x="636" y="182"/>
                  </a:lnTo>
                  <a:lnTo>
                    <a:pt x="680" y="146"/>
                  </a:lnTo>
                  <a:lnTo>
                    <a:pt x="764" y="82"/>
                  </a:lnTo>
                  <a:lnTo>
                    <a:pt x="830" y="34"/>
                  </a:lnTo>
                  <a:lnTo>
                    <a:pt x="866" y="10"/>
                  </a:lnTo>
                  <a:lnTo>
                    <a:pt x="866" y="10"/>
                  </a:lnTo>
                  <a:lnTo>
                    <a:pt x="874" y="4"/>
                  </a:lnTo>
                  <a:lnTo>
                    <a:pt x="884" y="2"/>
                  </a:lnTo>
                  <a:lnTo>
                    <a:pt x="896" y="0"/>
                  </a:lnTo>
                  <a:lnTo>
                    <a:pt x="906" y="2"/>
                  </a:lnTo>
                  <a:lnTo>
                    <a:pt x="920" y="6"/>
                  </a:lnTo>
                  <a:lnTo>
                    <a:pt x="934" y="10"/>
                  </a:lnTo>
                  <a:lnTo>
                    <a:pt x="966" y="26"/>
                  </a:lnTo>
                  <a:lnTo>
                    <a:pt x="966" y="26"/>
                  </a:lnTo>
                  <a:lnTo>
                    <a:pt x="1098" y="102"/>
                  </a:lnTo>
                  <a:lnTo>
                    <a:pt x="1354" y="248"/>
                  </a:lnTo>
                  <a:lnTo>
                    <a:pt x="1618" y="402"/>
                  </a:lnTo>
                  <a:lnTo>
                    <a:pt x="1720" y="464"/>
                  </a:lnTo>
                  <a:lnTo>
                    <a:pt x="1784" y="502"/>
                  </a:lnTo>
                  <a:lnTo>
                    <a:pt x="1784" y="502"/>
                  </a:lnTo>
                  <a:lnTo>
                    <a:pt x="1858" y="552"/>
                  </a:lnTo>
                  <a:lnTo>
                    <a:pt x="1926" y="594"/>
                  </a:lnTo>
                  <a:lnTo>
                    <a:pt x="1958" y="612"/>
                  </a:lnTo>
                  <a:lnTo>
                    <a:pt x="1984" y="626"/>
                  </a:lnTo>
                  <a:lnTo>
                    <a:pt x="2008" y="636"/>
                  </a:lnTo>
                  <a:lnTo>
                    <a:pt x="2026" y="640"/>
                  </a:lnTo>
                  <a:lnTo>
                    <a:pt x="2026" y="640"/>
                  </a:lnTo>
                  <a:lnTo>
                    <a:pt x="2066" y="644"/>
                  </a:lnTo>
                  <a:lnTo>
                    <a:pt x="2114" y="646"/>
                  </a:lnTo>
                  <a:lnTo>
                    <a:pt x="2172" y="646"/>
                  </a:lnTo>
                  <a:lnTo>
                    <a:pt x="2172" y="6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425A494A-EE2F-4107-ACD9-8DA90E5DD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6" y="1201"/>
              <a:ext cx="2302" cy="2176"/>
            </a:xfrm>
            <a:custGeom>
              <a:avLst/>
              <a:gdLst>
                <a:gd name="T0" fmla="*/ 100 w 2302"/>
                <a:gd name="T1" fmla="*/ 388 h 2176"/>
                <a:gd name="T2" fmla="*/ 356 w 2302"/>
                <a:gd name="T3" fmla="*/ 218 h 2176"/>
                <a:gd name="T4" fmla="*/ 574 w 2302"/>
                <a:gd name="T5" fmla="*/ 88 h 2176"/>
                <a:gd name="T6" fmla="*/ 672 w 2302"/>
                <a:gd name="T7" fmla="*/ 38 h 2176"/>
                <a:gd name="T8" fmla="*/ 770 w 2302"/>
                <a:gd name="T9" fmla="*/ 2 h 2176"/>
                <a:gd name="T10" fmla="*/ 828 w 2302"/>
                <a:gd name="T11" fmla="*/ 8 h 2176"/>
                <a:gd name="T12" fmla="*/ 610 w 2302"/>
                <a:gd name="T13" fmla="*/ 198 h 2176"/>
                <a:gd name="T14" fmla="*/ 418 w 2302"/>
                <a:gd name="T15" fmla="*/ 376 h 2176"/>
                <a:gd name="T16" fmla="*/ 358 w 2302"/>
                <a:gd name="T17" fmla="*/ 446 h 2176"/>
                <a:gd name="T18" fmla="*/ 336 w 2302"/>
                <a:gd name="T19" fmla="*/ 504 h 2176"/>
                <a:gd name="T20" fmla="*/ 332 w 2302"/>
                <a:gd name="T21" fmla="*/ 546 h 2176"/>
                <a:gd name="T22" fmla="*/ 340 w 2302"/>
                <a:gd name="T23" fmla="*/ 590 h 2176"/>
                <a:gd name="T24" fmla="*/ 394 w 2302"/>
                <a:gd name="T25" fmla="*/ 690 h 2176"/>
                <a:gd name="T26" fmla="*/ 448 w 2302"/>
                <a:gd name="T27" fmla="*/ 756 h 2176"/>
                <a:gd name="T28" fmla="*/ 508 w 2302"/>
                <a:gd name="T29" fmla="*/ 804 h 2176"/>
                <a:gd name="T30" fmla="*/ 554 w 2302"/>
                <a:gd name="T31" fmla="*/ 824 h 2176"/>
                <a:gd name="T32" fmla="*/ 604 w 2302"/>
                <a:gd name="T33" fmla="*/ 826 h 2176"/>
                <a:gd name="T34" fmla="*/ 640 w 2302"/>
                <a:gd name="T35" fmla="*/ 816 h 2176"/>
                <a:gd name="T36" fmla="*/ 778 w 2302"/>
                <a:gd name="T37" fmla="*/ 742 h 2176"/>
                <a:gd name="T38" fmla="*/ 1182 w 2302"/>
                <a:gd name="T39" fmla="*/ 502 h 2176"/>
                <a:gd name="T40" fmla="*/ 2200 w 2302"/>
                <a:gd name="T41" fmla="*/ 1442 h 2176"/>
                <a:gd name="T42" fmla="*/ 2242 w 2302"/>
                <a:gd name="T43" fmla="*/ 1508 h 2176"/>
                <a:gd name="T44" fmla="*/ 2284 w 2302"/>
                <a:gd name="T45" fmla="*/ 1604 h 2176"/>
                <a:gd name="T46" fmla="*/ 2302 w 2302"/>
                <a:gd name="T47" fmla="*/ 1688 h 2176"/>
                <a:gd name="T48" fmla="*/ 2290 w 2302"/>
                <a:gd name="T49" fmla="*/ 1776 h 2176"/>
                <a:gd name="T50" fmla="*/ 2266 w 2302"/>
                <a:gd name="T51" fmla="*/ 1826 h 2176"/>
                <a:gd name="T52" fmla="*/ 2216 w 2302"/>
                <a:gd name="T53" fmla="*/ 1876 h 2176"/>
                <a:gd name="T54" fmla="*/ 2154 w 2302"/>
                <a:gd name="T55" fmla="*/ 1900 h 2176"/>
                <a:gd name="T56" fmla="*/ 2088 w 2302"/>
                <a:gd name="T57" fmla="*/ 1902 h 2176"/>
                <a:gd name="T58" fmla="*/ 2028 w 2302"/>
                <a:gd name="T59" fmla="*/ 1882 h 2176"/>
                <a:gd name="T60" fmla="*/ 1992 w 2302"/>
                <a:gd name="T61" fmla="*/ 1860 h 2176"/>
                <a:gd name="T62" fmla="*/ 1968 w 2302"/>
                <a:gd name="T63" fmla="*/ 1938 h 2176"/>
                <a:gd name="T64" fmla="*/ 1938 w 2302"/>
                <a:gd name="T65" fmla="*/ 1984 h 2176"/>
                <a:gd name="T66" fmla="*/ 1888 w 2302"/>
                <a:gd name="T67" fmla="*/ 2020 h 2176"/>
                <a:gd name="T68" fmla="*/ 1844 w 2302"/>
                <a:gd name="T69" fmla="*/ 2034 h 2176"/>
                <a:gd name="T70" fmla="*/ 1776 w 2302"/>
                <a:gd name="T71" fmla="*/ 2040 h 2176"/>
                <a:gd name="T72" fmla="*/ 1690 w 2302"/>
                <a:gd name="T73" fmla="*/ 2030 h 2176"/>
                <a:gd name="T74" fmla="*/ 1638 w 2302"/>
                <a:gd name="T75" fmla="*/ 2008 h 2176"/>
                <a:gd name="T76" fmla="*/ 1614 w 2302"/>
                <a:gd name="T77" fmla="*/ 2056 h 2176"/>
                <a:gd name="T78" fmla="*/ 1566 w 2302"/>
                <a:gd name="T79" fmla="*/ 2112 h 2176"/>
                <a:gd name="T80" fmla="*/ 1512 w 2302"/>
                <a:gd name="T81" fmla="*/ 2148 h 2176"/>
                <a:gd name="T82" fmla="*/ 1440 w 2302"/>
                <a:gd name="T83" fmla="*/ 2168 h 2176"/>
                <a:gd name="T84" fmla="*/ 1388 w 2302"/>
                <a:gd name="T85" fmla="*/ 2168 h 2176"/>
                <a:gd name="T86" fmla="*/ 1324 w 2302"/>
                <a:gd name="T87" fmla="*/ 2154 h 2176"/>
                <a:gd name="T88" fmla="*/ 1274 w 2302"/>
                <a:gd name="T89" fmla="*/ 2130 h 2176"/>
                <a:gd name="T90" fmla="*/ 1214 w 2302"/>
                <a:gd name="T91" fmla="*/ 2082 h 2176"/>
                <a:gd name="T92" fmla="*/ 1196 w 2302"/>
                <a:gd name="T93" fmla="*/ 2102 h 2176"/>
                <a:gd name="T94" fmla="*/ 1142 w 2302"/>
                <a:gd name="T95" fmla="*/ 2144 h 2176"/>
                <a:gd name="T96" fmla="*/ 1080 w 2302"/>
                <a:gd name="T97" fmla="*/ 2170 h 2176"/>
                <a:gd name="T98" fmla="*/ 1004 w 2302"/>
                <a:gd name="T99" fmla="*/ 2174 h 2176"/>
                <a:gd name="T100" fmla="*/ 944 w 2302"/>
                <a:gd name="T101" fmla="*/ 2160 h 2176"/>
                <a:gd name="T102" fmla="*/ 870 w 2302"/>
                <a:gd name="T103" fmla="*/ 2118 h 2176"/>
                <a:gd name="T104" fmla="*/ 724 w 2302"/>
                <a:gd name="T105" fmla="*/ 2002 h 2176"/>
                <a:gd name="T106" fmla="*/ 466 w 2302"/>
                <a:gd name="T107" fmla="*/ 1760 h 2176"/>
                <a:gd name="T108" fmla="*/ 310 w 2302"/>
                <a:gd name="T109" fmla="*/ 1598 h 2176"/>
                <a:gd name="T110" fmla="*/ 232 w 2302"/>
                <a:gd name="T111" fmla="*/ 1506 h 2176"/>
                <a:gd name="T112" fmla="*/ 148 w 2302"/>
                <a:gd name="T113" fmla="*/ 1428 h 2176"/>
                <a:gd name="T114" fmla="*/ 102 w 2302"/>
                <a:gd name="T115" fmla="*/ 1408 h 2176"/>
                <a:gd name="T116" fmla="*/ 28 w 2302"/>
                <a:gd name="T117" fmla="*/ 1404 h 2176"/>
                <a:gd name="T118" fmla="*/ 0 w 2302"/>
                <a:gd name="T119" fmla="*/ 388 h 2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02" h="2176">
                  <a:moveTo>
                    <a:pt x="0" y="388"/>
                  </a:moveTo>
                  <a:lnTo>
                    <a:pt x="100" y="388"/>
                  </a:lnTo>
                  <a:lnTo>
                    <a:pt x="100" y="388"/>
                  </a:lnTo>
                  <a:lnTo>
                    <a:pt x="152" y="352"/>
                  </a:lnTo>
                  <a:lnTo>
                    <a:pt x="280" y="268"/>
                  </a:lnTo>
                  <a:lnTo>
                    <a:pt x="356" y="218"/>
                  </a:lnTo>
                  <a:lnTo>
                    <a:pt x="434" y="170"/>
                  </a:lnTo>
                  <a:lnTo>
                    <a:pt x="510" y="124"/>
                  </a:lnTo>
                  <a:lnTo>
                    <a:pt x="574" y="88"/>
                  </a:lnTo>
                  <a:lnTo>
                    <a:pt x="574" y="88"/>
                  </a:lnTo>
                  <a:lnTo>
                    <a:pt x="628" y="60"/>
                  </a:lnTo>
                  <a:lnTo>
                    <a:pt x="672" y="38"/>
                  </a:lnTo>
                  <a:lnTo>
                    <a:pt x="712" y="22"/>
                  </a:lnTo>
                  <a:lnTo>
                    <a:pt x="744" y="10"/>
                  </a:lnTo>
                  <a:lnTo>
                    <a:pt x="770" y="2"/>
                  </a:lnTo>
                  <a:lnTo>
                    <a:pt x="792" y="0"/>
                  </a:lnTo>
                  <a:lnTo>
                    <a:pt x="812" y="2"/>
                  </a:lnTo>
                  <a:lnTo>
                    <a:pt x="828" y="8"/>
                  </a:lnTo>
                  <a:lnTo>
                    <a:pt x="828" y="8"/>
                  </a:lnTo>
                  <a:lnTo>
                    <a:pt x="760" y="66"/>
                  </a:lnTo>
                  <a:lnTo>
                    <a:pt x="610" y="198"/>
                  </a:lnTo>
                  <a:lnTo>
                    <a:pt x="526" y="272"/>
                  </a:lnTo>
                  <a:lnTo>
                    <a:pt x="450" y="344"/>
                  </a:lnTo>
                  <a:lnTo>
                    <a:pt x="418" y="376"/>
                  </a:lnTo>
                  <a:lnTo>
                    <a:pt x="390" y="404"/>
                  </a:lnTo>
                  <a:lnTo>
                    <a:pt x="370" y="428"/>
                  </a:lnTo>
                  <a:lnTo>
                    <a:pt x="358" y="446"/>
                  </a:lnTo>
                  <a:lnTo>
                    <a:pt x="358" y="446"/>
                  </a:lnTo>
                  <a:lnTo>
                    <a:pt x="344" y="476"/>
                  </a:lnTo>
                  <a:lnTo>
                    <a:pt x="336" y="504"/>
                  </a:lnTo>
                  <a:lnTo>
                    <a:pt x="332" y="518"/>
                  </a:lnTo>
                  <a:lnTo>
                    <a:pt x="332" y="532"/>
                  </a:lnTo>
                  <a:lnTo>
                    <a:pt x="332" y="546"/>
                  </a:lnTo>
                  <a:lnTo>
                    <a:pt x="332" y="562"/>
                  </a:lnTo>
                  <a:lnTo>
                    <a:pt x="336" y="576"/>
                  </a:lnTo>
                  <a:lnTo>
                    <a:pt x="340" y="590"/>
                  </a:lnTo>
                  <a:lnTo>
                    <a:pt x="352" y="622"/>
                  </a:lnTo>
                  <a:lnTo>
                    <a:pt x="370" y="654"/>
                  </a:lnTo>
                  <a:lnTo>
                    <a:pt x="394" y="690"/>
                  </a:lnTo>
                  <a:lnTo>
                    <a:pt x="394" y="690"/>
                  </a:lnTo>
                  <a:lnTo>
                    <a:pt x="420" y="726"/>
                  </a:lnTo>
                  <a:lnTo>
                    <a:pt x="448" y="756"/>
                  </a:lnTo>
                  <a:lnTo>
                    <a:pt x="478" y="782"/>
                  </a:lnTo>
                  <a:lnTo>
                    <a:pt x="492" y="794"/>
                  </a:lnTo>
                  <a:lnTo>
                    <a:pt x="508" y="804"/>
                  </a:lnTo>
                  <a:lnTo>
                    <a:pt x="522" y="812"/>
                  </a:lnTo>
                  <a:lnTo>
                    <a:pt x="538" y="818"/>
                  </a:lnTo>
                  <a:lnTo>
                    <a:pt x="554" y="824"/>
                  </a:lnTo>
                  <a:lnTo>
                    <a:pt x="570" y="826"/>
                  </a:lnTo>
                  <a:lnTo>
                    <a:pt x="588" y="826"/>
                  </a:lnTo>
                  <a:lnTo>
                    <a:pt x="604" y="826"/>
                  </a:lnTo>
                  <a:lnTo>
                    <a:pt x="622" y="822"/>
                  </a:lnTo>
                  <a:lnTo>
                    <a:pt x="640" y="816"/>
                  </a:lnTo>
                  <a:lnTo>
                    <a:pt x="640" y="816"/>
                  </a:lnTo>
                  <a:lnTo>
                    <a:pt x="662" y="806"/>
                  </a:lnTo>
                  <a:lnTo>
                    <a:pt x="694" y="790"/>
                  </a:lnTo>
                  <a:lnTo>
                    <a:pt x="778" y="742"/>
                  </a:lnTo>
                  <a:lnTo>
                    <a:pt x="880" y="684"/>
                  </a:lnTo>
                  <a:lnTo>
                    <a:pt x="990" y="618"/>
                  </a:lnTo>
                  <a:lnTo>
                    <a:pt x="1182" y="502"/>
                  </a:lnTo>
                  <a:lnTo>
                    <a:pt x="1266" y="450"/>
                  </a:lnTo>
                  <a:lnTo>
                    <a:pt x="2200" y="1442"/>
                  </a:lnTo>
                  <a:lnTo>
                    <a:pt x="2200" y="1442"/>
                  </a:lnTo>
                  <a:lnTo>
                    <a:pt x="2206" y="1450"/>
                  </a:lnTo>
                  <a:lnTo>
                    <a:pt x="2222" y="1472"/>
                  </a:lnTo>
                  <a:lnTo>
                    <a:pt x="2242" y="1508"/>
                  </a:lnTo>
                  <a:lnTo>
                    <a:pt x="2264" y="1552"/>
                  </a:lnTo>
                  <a:lnTo>
                    <a:pt x="2274" y="1578"/>
                  </a:lnTo>
                  <a:lnTo>
                    <a:pt x="2284" y="1604"/>
                  </a:lnTo>
                  <a:lnTo>
                    <a:pt x="2292" y="1632"/>
                  </a:lnTo>
                  <a:lnTo>
                    <a:pt x="2298" y="1660"/>
                  </a:lnTo>
                  <a:lnTo>
                    <a:pt x="2302" y="1688"/>
                  </a:lnTo>
                  <a:lnTo>
                    <a:pt x="2302" y="1718"/>
                  </a:lnTo>
                  <a:lnTo>
                    <a:pt x="2298" y="1748"/>
                  </a:lnTo>
                  <a:lnTo>
                    <a:pt x="2290" y="1776"/>
                  </a:lnTo>
                  <a:lnTo>
                    <a:pt x="2290" y="1776"/>
                  </a:lnTo>
                  <a:lnTo>
                    <a:pt x="2280" y="1802"/>
                  </a:lnTo>
                  <a:lnTo>
                    <a:pt x="2266" y="1826"/>
                  </a:lnTo>
                  <a:lnTo>
                    <a:pt x="2250" y="1846"/>
                  </a:lnTo>
                  <a:lnTo>
                    <a:pt x="2234" y="1862"/>
                  </a:lnTo>
                  <a:lnTo>
                    <a:pt x="2216" y="1876"/>
                  </a:lnTo>
                  <a:lnTo>
                    <a:pt x="2196" y="1888"/>
                  </a:lnTo>
                  <a:lnTo>
                    <a:pt x="2174" y="1896"/>
                  </a:lnTo>
                  <a:lnTo>
                    <a:pt x="2154" y="1900"/>
                  </a:lnTo>
                  <a:lnTo>
                    <a:pt x="2132" y="1904"/>
                  </a:lnTo>
                  <a:lnTo>
                    <a:pt x="2110" y="1904"/>
                  </a:lnTo>
                  <a:lnTo>
                    <a:pt x="2088" y="1902"/>
                  </a:lnTo>
                  <a:lnTo>
                    <a:pt x="2068" y="1896"/>
                  </a:lnTo>
                  <a:lnTo>
                    <a:pt x="2046" y="1890"/>
                  </a:lnTo>
                  <a:lnTo>
                    <a:pt x="2028" y="1882"/>
                  </a:lnTo>
                  <a:lnTo>
                    <a:pt x="2008" y="1872"/>
                  </a:lnTo>
                  <a:lnTo>
                    <a:pt x="1992" y="1860"/>
                  </a:lnTo>
                  <a:lnTo>
                    <a:pt x="1992" y="1860"/>
                  </a:lnTo>
                  <a:lnTo>
                    <a:pt x="1988" y="1884"/>
                  </a:lnTo>
                  <a:lnTo>
                    <a:pt x="1980" y="1908"/>
                  </a:lnTo>
                  <a:lnTo>
                    <a:pt x="1968" y="1938"/>
                  </a:lnTo>
                  <a:lnTo>
                    <a:pt x="1960" y="1954"/>
                  </a:lnTo>
                  <a:lnTo>
                    <a:pt x="1950" y="1968"/>
                  </a:lnTo>
                  <a:lnTo>
                    <a:pt x="1938" y="1984"/>
                  </a:lnTo>
                  <a:lnTo>
                    <a:pt x="1924" y="1996"/>
                  </a:lnTo>
                  <a:lnTo>
                    <a:pt x="1908" y="2010"/>
                  </a:lnTo>
                  <a:lnTo>
                    <a:pt x="1888" y="2020"/>
                  </a:lnTo>
                  <a:lnTo>
                    <a:pt x="1868" y="2028"/>
                  </a:lnTo>
                  <a:lnTo>
                    <a:pt x="1844" y="2034"/>
                  </a:lnTo>
                  <a:lnTo>
                    <a:pt x="1844" y="2034"/>
                  </a:lnTo>
                  <a:lnTo>
                    <a:pt x="1820" y="2038"/>
                  </a:lnTo>
                  <a:lnTo>
                    <a:pt x="1796" y="2040"/>
                  </a:lnTo>
                  <a:lnTo>
                    <a:pt x="1776" y="2040"/>
                  </a:lnTo>
                  <a:lnTo>
                    <a:pt x="1756" y="2040"/>
                  </a:lnTo>
                  <a:lnTo>
                    <a:pt x="1720" y="2036"/>
                  </a:lnTo>
                  <a:lnTo>
                    <a:pt x="1690" y="2030"/>
                  </a:lnTo>
                  <a:lnTo>
                    <a:pt x="1668" y="2022"/>
                  </a:lnTo>
                  <a:lnTo>
                    <a:pt x="1652" y="2016"/>
                  </a:lnTo>
                  <a:lnTo>
                    <a:pt x="1638" y="2008"/>
                  </a:lnTo>
                  <a:lnTo>
                    <a:pt x="1638" y="2008"/>
                  </a:lnTo>
                  <a:lnTo>
                    <a:pt x="1628" y="2032"/>
                  </a:lnTo>
                  <a:lnTo>
                    <a:pt x="1614" y="2056"/>
                  </a:lnTo>
                  <a:lnTo>
                    <a:pt x="1594" y="2084"/>
                  </a:lnTo>
                  <a:lnTo>
                    <a:pt x="1580" y="2098"/>
                  </a:lnTo>
                  <a:lnTo>
                    <a:pt x="1566" y="2112"/>
                  </a:lnTo>
                  <a:lnTo>
                    <a:pt x="1550" y="2126"/>
                  </a:lnTo>
                  <a:lnTo>
                    <a:pt x="1532" y="2138"/>
                  </a:lnTo>
                  <a:lnTo>
                    <a:pt x="1512" y="2148"/>
                  </a:lnTo>
                  <a:lnTo>
                    <a:pt x="1490" y="2158"/>
                  </a:lnTo>
                  <a:lnTo>
                    <a:pt x="1466" y="2164"/>
                  </a:lnTo>
                  <a:lnTo>
                    <a:pt x="1440" y="2168"/>
                  </a:lnTo>
                  <a:lnTo>
                    <a:pt x="1440" y="2168"/>
                  </a:lnTo>
                  <a:lnTo>
                    <a:pt x="1414" y="2170"/>
                  </a:lnTo>
                  <a:lnTo>
                    <a:pt x="1388" y="2168"/>
                  </a:lnTo>
                  <a:lnTo>
                    <a:pt x="1366" y="2164"/>
                  </a:lnTo>
                  <a:lnTo>
                    <a:pt x="1344" y="2160"/>
                  </a:lnTo>
                  <a:lnTo>
                    <a:pt x="1324" y="2154"/>
                  </a:lnTo>
                  <a:lnTo>
                    <a:pt x="1306" y="2146"/>
                  </a:lnTo>
                  <a:lnTo>
                    <a:pt x="1288" y="2138"/>
                  </a:lnTo>
                  <a:lnTo>
                    <a:pt x="1274" y="2130"/>
                  </a:lnTo>
                  <a:lnTo>
                    <a:pt x="1248" y="2112"/>
                  </a:lnTo>
                  <a:lnTo>
                    <a:pt x="1230" y="2098"/>
                  </a:lnTo>
                  <a:lnTo>
                    <a:pt x="1214" y="2082"/>
                  </a:lnTo>
                  <a:lnTo>
                    <a:pt x="1214" y="2082"/>
                  </a:lnTo>
                  <a:lnTo>
                    <a:pt x="1210" y="2088"/>
                  </a:lnTo>
                  <a:lnTo>
                    <a:pt x="1196" y="2102"/>
                  </a:lnTo>
                  <a:lnTo>
                    <a:pt x="1172" y="2124"/>
                  </a:lnTo>
                  <a:lnTo>
                    <a:pt x="1158" y="2134"/>
                  </a:lnTo>
                  <a:lnTo>
                    <a:pt x="1142" y="2144"/>
                  </a:lnTo>
                  <a:lnTo>
                    <a:pt x="1122" y="2154"/>
                  </a:lnTo>
                  <a:lnTo>
                    <a:pt x="1102" y="2162"/>
                  </a:lnTo>
                  <a:lnTo>
                    <a:pt x="1080" y="2170"/>
                  </a:lnTo>
                  <a:lnTo>
                    <a:pt x="1056" y="2174"/>
                  </a:lnTo>
                  <a:lnTo>
                    <a:pt x="1030" y="2176"/>
                  </a:lnTo>
                  <a:lnTo>
                    <a:pt x="1004" y="2174"/>
                  </a:lnTo>
                  <a:lnTo>
                    <a:pt x="974" y="2170"/>
                  </a:lnTo>
                  <a:lnTo>
                    <a:pt x="944" y="2160"/>
                  </a:lnTo>
                  <a:lnTo>
                    <a:pt x="944" y="2160"/>
                  </a:lnTo>
                  <a:lnTo>
                    <a:pt x="928" y="2152"/>
                  </a:lnTo>
                  <a:lnTo>
                    <a:pt x="910" y="2144"/>
                  </a:lnTo>
                  <a:lnTo>
                    <a:pt x="870" y="2118"/>
                  </a:lnTo>
                  <a:lnTo>
                    <a:pt x="824" y="2086"/>
                  </a:lnTo>
                  <a:lnTo>
                    <a:pt x="774" y="2046"/>
                  </a:lnTo>
                  <a:lnTo>
                    <a:pt x="724" y="2002"/>
                  </a:lnTo>
                  <a:lnTo>
                    <a:pt x="670" y="1954"/>
                  </a:lnTo>
                  <a:lnTo>
                    <a:pt x="564" y="1856"/>
                  </a:lnTo>
                  <a:lnTo>
                    <a:pt x="466" y="1760"/>
                  </a:lnTo>
                  <a:lnTo>
                    <a:pt x="386" y="1678"/>
                  </a:lnTo>
                  <a:lnTo>
                    <a:pt x="310" y="1598"/>
                  </a:lnTo>
                  <a:lnTo>
                    <a:pt x="310" y="1598"/>
                  </a:lnTo>
                  <a:lnTo>
                    <a:pt x="288" y="1570"/>
                  </a:lnTo>
                  <a:lnTo>
                    <a:pt x="262" y="1540"/>
                  </a:lnTo>
                  <a:lnTo>
                    <a:pt x="232" y="1506"/>
                  </a:lnTo>
                  <a:lnTo>
                    <a:pt x="198" y="1472"/>
                  </a:lnTo>
                  <a:lnTo>
                    <a:pt x="164" y="1442"/>
                  </a:lnTo>
                  <a:lnTo>
                    <a:pt x="148" y="1428"/>
                  </a:lnTo>
                  <a:lnTo>
                    <a:pt x="132" y="1418"/>
                  </a:lnTo>
                  <a:lnTo>
                    <a:pt x="116" y="1412"/>
                  </a:lnTo>
                  <a:lnTo>
                    <a:pt x="102" y="1408"/>
                  </a:lnTo>
                  <a:lnTo>
                    <a:pt x="102" y="1408"/>
                  </a:lnTo>
                  <a:lnTo>
                    <a:pt x="58" y="1404"/>
                  </a:lnTo>
                  <a:lnTo>
                    <a:pt x="28" y="1404"/>
                  </a:lnTo>
                  <a:lnTo>
                    <a:pt x="12" y="1406"/>
                  </a:lnTo>
                  <a:lnTo>
                    <a:pt x="8" y="1408"/>
                  </a:lnTo>
                  <a:lnTo>
                    <a:pt x="0" y="3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0B68C815-CA72-4A6D-97AB-1394AD3E36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6" y="1201"/>
              <a:ext cx="642" cy="2048"/>
            </a:xfrm>
            <a:custGeom>
              <a:avLst/>
              <a:gdLst>
                <a:gd name="T0" fmla="*/ 0 w 642"/>
                <a:gd name="T1" fmla="*/ 2048 h 2048"/>
                <a:gd name="T2" fmla="*/ 642 w 642"/>
                <a:gd name="T3" fmla="*/ 0 h 2048"/>
                <a:gd name="T4" fmla="*/ 258 w 642"/>
                <a:gd name="T5" fmla="*/ 1924 h 2048"/>
                <a:gd name="T6" fmla="*/ 244 w 642"/>
                <a:gd name="T7" fmla="*/ 1924 h 2048"/>
                <a:gd name="T8" fmla="*/ 220 w 642"/>
                <a:gd name="T9" fmla="*/ 1918 h 2048"/>
                <a:gd name="T10" fmla="*/ 196 w 642"/>
                <a:gd name="T11" fmla="*/ 1908 h 2048"/>
                <a:gd name="T12" fmla="*/ 174 w 642"/>
                <a:gd name="T13" fmla="*/ 1894 h 2048"/>
                <a:gd name="T14" fmla="*/ 158 w 642"/>
                <a:gd name="T15" fmla="*/ 1878 h 2048"/>
                <a:gd name="T16" fmla="*/ 144 w 642"/>
                <a:gd name="T17" fmla="*/ 1856 h 2048"/>
                <a:gd name="T18" fmla="*/ 134 w 642"/>
                <a:gd name="T19" fmla="*/ 1832 h 2048"/>
                <a:gd name="T20" fmla="*/ 128 w 642"/>
                <a:gd name="T21" fmla="*/ 1808 h 2048"/>
                <a:gd name="T22" fmla="*/ 128 w 642"/>
                <a:gd name="T23" fmla="*/ 1794 h 2048"/>
                <a:gd name="T24" fmla="*/ 130 w 642"/>
                <a:gd name="T25" fmla="*/ 1768 h 2048"/>
                <a:gd name="T26" fmla="*/ 138 w 642"/>
                <a:gd name="T27" fmla="*/ 1744 h 2048"/>
                <a:gd name="T28" fmla="*/ 150 w 642"/>
                <a:gd name="T29" fmla="*/ 1720 h 2048"/>
                <a:gd name="T30" fmla="*/ 166 w 642"/>
                <a:gd name="T31" fmla="*/ 1702 h 2048"/>
                <a:gd name="T32" fmla="*/ 184 w 642"/>
                <a:gd name="T33" fmla="*/ 1686 h 2048"/>
                <a:gd name="T34" fmla="*/ 208 w 642"/>
                <a:gd name="T35" fmla="*/ 1674 h 2048"/>
                <a:gd name="T36" fmla="*/ 232 w 642"/>
                <a:gd name="T37" fmla="*/ 1666 h 2048"/>
                <a:gd name="T38" fmla="*/ 258 w 642"/>
                <a:gd name="T39" fmla="*/ 1664 h 2048"/>
                <a:gd name="T40" fmla="*/ 272 w 642"/>
                <a:gd name="T41" fmla="*/ 1664 h 2048"/>
                <a:gd name="T42" fmla="*/ 296 w 642"/>
                <a:gd name="T43" fmla="*/ 1670 h 2048"/>
                <a:gd name="T44" fmla="*/ 320 w 642"/>
                <a:gd name="T45" fmla="*/ 1680 h 2048"/>
                <a:gd name="T46" fmla="*/ 342 w 642"/>
                <a:gd name="T47" fmla="*/ 1694 h 2048"/>
                <a:gd name="T48" fmla="*/ 358 w 642"/>
                <a:gd name="T49" fmla="*/ 1710 h 2048"/>
                <a:gd name="T50" fmla="*/ 372 w 642"/>
                <a:gd name="T51" fmla="*/ 1732 h 2048"/>
                <a:gd name="T52" fmla="*/ 382 w 642"/>
                <a:gd name="T53" fmla="*/ 1756 h 2048"/>
                <a:gd name="T54" fmla="*/ 388 w 642"/>
                <a:gd name="T55" fmla="*/ 1780 h 2048"/>
                <a:gd name="T56" fmla="*/ 388 w 642"/>
                <a:gd name="T57" fmla="*/ 1794 h 2048"/>
                <a:gd name="T58" fmla="*/ 386 w 642"/>
                <a:gd name="T59" fmla="*/ 1820 h 2048"/>
                <a:gd name="T60" fmla="*/ 378 w 642"/>
                <a:gd name="T61" fmla="*/ 1844 h 2048"/>
                <a:gd name="T62" fmla="*/ 366 w 642"/>
                <a:gd name="T63" fmla="*/ 1868 h 2048"/>
                <a:gd name="T64" fmla="*/ 350 w 642"/>
                <a:gd name="T65" fmla="*/ 1886 h 2048"/>
                <a:gd name="T66" fmla="*/ 332 w 642"/>
                <a:gd name="T67" fmla="*/ 1902 h 2048"/>
                <a:gd name="T68" fmla="*/ 308 w 642"/>
                <a:gd name="T69" fmla="*/ 1914 h 2048"/>
                <a:gd name="T70" fmla="*/ 284 w 642"/>
                <a:gd name="T71" fmla="*/ 1922 h 2048"/>
                <a:gd name="T72" fmla="*/ 258 w 642"/>
                <a:gd name="T73" fmla="*/ 192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2" h="2048">
                  <a:moveTo>
                    <a:pt x="0" y="0"/>
                  </a:moveTo>
                  <a:lnTo>
                    <a:pt x="0" y="2048"/>
                  </a:lnTo>
                  <a:lnTo>
                    <a:pt x="642" y="2048"/>
                  </a:lnTo>
                  <a:lnTo>
                    <a:pt x="642" y="0"/>
                  </a:lnTo>
                  <a:lnTo>
                    <a:pt x="0" y="0"/>
                  </a:lnTo>
                  <a:close/>
                  <a:moveTo>
                    <a:pt x="258" y="1924"/>
                  </a:moveTo>
                  <a:lnTo>
                    <a:pt x="258" y="1924"/>
                  </a:lnTo>
                  <a:lnTo>
                    <a:pt x="244" y="1924"/>
                  </a:lnTo>
                  <a:lnTo>
                    <a:pt x="232" y="1922"/>
                  </a:lnTo>
                  <a:lnTo>
                    <a:pt x="220" y="1918"/>
                  </a:lnTo>
                  <a:lnTo>
                    <a:pt x="208" y="1914"/>
                  </a:lnTo>
                  <a:lnTo>
                    <a:pt x="196" y="1908"/>
                  </a:lnTo>
                  <a:lnTo>
                    <a:pt x="184" y="1902"/>
                  </a:lnTo>
                  <a:lnTo>
                    <a:pt x="174" y="1894"/>
                  </a:lnTo>
                  <a:lnTo>
                    <a:pt x="166" y="1886"/>
                  </a:lnTo>
                  <a:lnTo>
                    <a:pt x="158" y="1878"/>
                  </a:lnTo>
                  <a:lnTo>
                    <a:pt x="150" y="1868"/>
                  </a:lnTo>
                  <a:lnTo>
                    <a:pt x="144" y="1856"/>
                  </a:lnTo>
                  <a:lnTo>
                    <a:pt x="138" y="1844"/>
                  </a:lnTo>
                  <a:lnTo>
                    <a:pt x="134" y="1832"/>
                  </a:lnTo>
                  <a:lnTo>
                    <a:pt x="130" y="1820"/>
                  </a:lnTo>
                  <a:lnTo>
                    <a:pt x="128" y="1808"/>
                  </a:lnTo>
                  <a:lnTo>
                    <a:pt x="128" y="1794"/>
                  </a:lnTo>
                  <a:lnTo>
                    <a:pt x="128" y="1794"/>
                  </a:lnTo>
                  <a:lnTo>
                    <a:pt x="128" y="1780"/>
                  </a:lnTo>
                  <a:lnTo>
                    <a:pt x="130" y="1768"/>
                  </a:lnTo>
                  <a:lnTo>
                    <a:pt x="134" y="1756"/>
                  </a:lnTo>
                  <a:lnTo>
                    <a:pt x="138" y="1744"/>
                  </a:lnTo>
                  <a:lnTo>
                    <a:pt x="144" y="1732"/>
                  </a:lnTo>
                  <a:lnTo>
                    <a:pt x="150" y="1720"/>
                  </a:lnTo>
                  <a:lnTo>
                    <a:pt x="158" y="1710"/>
                  </a:lnTo>
                  <a:lnTo>
                    <a:pt x="166" y="1702"/>
                  </a:lnTo>
                  <a:lnTo>
                    <a:pt x="174" y="1694"/>
                  </a:lnTo>
                  <a:lnTo>
                    <a:pt x="184" y="1686"/>
                  </a:lnTo>
                  <a:lnTo>
                    <a:pt x="196" y="1680"/>
                  </a:lnTo>
                  <a:lnTo>
                    <a:pt x="208" y="1674"/>
                  </a:lnTo>
                  <a:lnTo>
                    <a:pt x="220" y="1670"/>
                  </a:lnTo>
                  <a:lnTo>
                    <a:pt x="232" y="1666"/>
                  </a:lnTo>
                  <a:lnTo>
                    <a:pt x="244" y="1664"/>
                  </a:lnTo>
                  <a:lnTo>
                    <a:pt x="258" y="1664"/>
                  </a:lnTo>
                  <a:lnTo>
                    <a:pt x="258" y="1664"/>
                  </a:lnTo>
                  <a:lnTo>
                    <a:pt x="272" y="1664"/>
                  </a:lnTo>
                  <a:lnTo>
                    <a:pt x="284" y="1666"/>
                  </a:lnTo>
                  <a:lnTo>
                    <a:pt x="296" y="1670"/>
                  </a:lnTo>
                  <a:lnTo>
                    <a:pt x="308" y="1674"/>
                  </a:lnTo>
                  <a:lnTo>
                    <a:pt x="320" y="1680"/>
                  </a:lnTo>
                  <a:lnTo>
                    <a:pt x="332" y="1686"/>
                  </a:lnTo>
                  <a:lnTo>
                    <a:pt x="342" y="1694"/>
                  </a:lnTo>
                  <a:lnTo>
                    <a:pt x="350" y="1702"/>
                  </a:lnTo>
                  <a:lnTo>
                    <a:pt x="358" y="1710"/>
                  </a:lnTo>
                  <a:lnTo>
                    <a:pt x="366" y="1720"/>
                  </a:lnTo>
                  <a:lnTo>
                    <a:pt x="372" y="1732"/>
                  </a:lnTo>
                  <a:lnTo>
                    <a:pt x="378" y="1744"/>
                  </a:lnTo>
                  <a:lnTo>
                    <a:pt x="382" y="1756"/>
                  </a:lnTo>
                  <a:lnTo>
                    <a:pt x="386" y="1768"/>
                  </a:lnTo>
                  <a:lnTo>
                    <a:pt x="388" y="1780"/>
                  </a:lnTo>
                  <a:lnTo>
                    <a:pt x="388" y="1794"/>
                  </a:lnTo>
                  <a:lnTo>
                    <a:pt x="388" y="1794"/>
                  </a:lnTo>
                  <a:lnTo>
                    <a:pt x="388" y="1808"/>
                  </a:lnTo>
                  <a:lnTo>
                    <a:pt x="386" y="1820"/>
                  </a:lnTo>
                  <a:lnTo>
                    <a:pt x="382" y="1832"/>
                  </a:lnTo>
                  <a:lnTo>
                    <a:pt x="378" y="1844"/>
                  </a:lnTo>
                  <a:lnTo>
                    <a:pt x="372" y="1856"/>
                  </a:lnTo>
                  <a:lnTo>
                    <a:pt x="366" y="1868"/>
                  </a:lnTo>
                  <a:lnTo>
                    <a:pt x="358" y="1878"/>
                  </a:lnTo>
                  <a:lnTo>
                    <a:pt x="350" y="1886"/>
                  </a:lnTo>
                  <a:lnTo>
                    <a:pt x="342" y="1894"/>
                  </a:lnTo>
                  <a:lnTo>
                    <a:pt x="332" y="1902"/>
                  </a:lnTo>
                  <a:lnTo>
                    <a:pt x="320" y="1908"/>
                  </a:lnTo>
                  <a:lnTo>
                    <a:pt x="308" y="1914"/>
                  </a:lnTo>
                  <a:lnTo>
                    <a:pt x="296" y="1918"/>
                  </a:lnTo>
                  <a:lnTo>
                    <a:pt x="284" y="1922"/>
                  </a:lnTo>
                  <a:lnTo>
                    <a:pt x="272" y="1924"/>
                  </a:lnTo>
                  <a:lnTo>
                    <a:pt x="258" y="1924"/>
                  </a:lnTo>
                  <a:lnTo>
                    <a:pt x="258" y="19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D62BD339-ADB7-4DD0-AA5B-95D38A0E0D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2" y="1201"/>
              <a:ext cx="642" cy="2048"/>
            </a:xfrm>
            <a:custGeom>
              <a:avLst/>
              <a:gdLst>
                <a:gd name="T0" fmla="*/ 0 w 642"/>
                <a:gd name="T1" fmla="*/ 2048 h 2048"/>
                <a:gd name="T2" fmla="*/ 642 w 642"/>
                <a:gd name="T3" fmla="*/ 0 h 2048"/>
                <a:gd name="T4" fmla="*/ 254 w 642"/>
                <a:gd name="T5" fmla="*/ 1794 h 2048"/>
                <a:gd name="T6" fmla="*/ 254 w 642"/>
                <a:gd name="T7" fmla="*/ 1780 h 2048"/>
                <a:gd name="T8" fmla="*/ 260 w 642"/>
                <a:gd name="T9" fmla="*/ 1756 h 2048"/>
                <a:gd name="T10" fmla="*/ 270 w 642"/>
                <a:gd name="T11" fmla="*/ 1732 h 2048"/>
                <a:gd name="T12" fmla="*/ 284 w 642"/>
                <a:gd name="T13" fmla="*/ 1710 h 2048"/>
                <a:gd name="T14" fmla="*/ 300 w 642"/>
                <a:gd name="T15" fmla="*/ 1694 h 2048"/>
                <a:gd name="T16" fmla="*/ 322 w 642"/>
                <a:gd name="T17" fmla="*/ 1680 h 2048"/>
                <a:gd name="T18" fmla="*/ 346 w 642"/>
                <a:gd name="T19" fmla="*/ 1670 h 2048"/>
                <a:gd name="T20" fmla="*/ 370 w 642"/>
                <a:gd name="T21" fmla="*/ 1664 h 2048"/>
                <a:gd name="T22" fmla="*/ 384 w 642"/>
                <a:gd name="T23" fmla="*/ 1664 h 2048"/>
                <a:gd name="T24" fmla="*/ 410 w 642"/>
                <a:gd name="T25" fmla="*/ 1666 h 2048"/>
                <a:gd name="T26" fmla="*/ 434 w 642"/>
                <a:gd name="T27" fmla="*/ 1674 h 2048"/>
                <a:gd name="T28" fmla="*/ 458 w 642"/>
                <a:gd name="T29" fmla="*/ 1686 h 2048"/>
                <a:gd name="T30" fmla="*/ 476 w 642"/>
                <a:gd name="T31" fmla="*/ 1702 h 2048"/>
                <a:gd name="T32" fmla="*/ 492 w 642"/>
                <a:gd name="T33" fmla="*/ 1720 h 2048"/>
                <a:gd name="T34" fmla="*/ 504 w 642"/>
                <a:gd name="T35" fmla="*/ 1744 h 2048"/>
                <a:gd name="T36" fmla="*/ 512 w 642"/>
                <a:gd name="T37" fmla="*/ 1768 h 2048"/>
                <a:gd name="T38" fmla="*/ 514 w 642"/>
                <a:gd name="T39" fmla="*/ 1794 h 2048"/>
                <a:gd name="T40" fmla="*/ 514 w 642"/>
                <a:gd name="T41" fmla="*/ 1808 h 2048"/>
                <a:gd name="T42" fmla="*/ 508 w 642"/>
                <a:gd name="T43" fmla="*/ 1832 h 2048"/>
                <a:gd name="T44" fmla="*/ 498 w 642"/>
                <a:gd name="T45" fmla="*/ 1856 h 2048"/>
                <a:gd name="T46" fmla="*/ 484 w 642"/>
                <a:gd name="T47" fmla="*/ 1878 h 2048"/>
                <a:gd name="T48" fmla="*/ 468 w 642"/>
                <a:gd name="T49" fmla="*/ 1894 h 2048"/>
                <a:gd name="T50" fmla="*/ 446 w 642"/>
                <a:gd name="T51" fmla="*/ 1908 h 2048"/>
                <a:gd name="T52" fmla="*/ 422 w 642"/>
                <a:gd name="T53" fmla="*/ 1918 h 2048"/>
                <a:gd name="T54" fmla="*/ 398 w 642"/>
                <a:gd name="T55" fmla="*/ 1924 h 2048"/>
                <a:gd name="T56" fmla="*/ 384 w 642"/>
                <a:gd name="T57" fmla="*/ 1924 h 2048"/>
                <a:gd name="T58" fmla="*/ 358 w 642"/>
                <a:gd name="T59" fmla="*/ 1922 h 2048"/>
                <a:gd name="T60" fmla="*/ 334 w 642"/>
                <a:gd name="T61" fmla="*/ 1914 h 2048"/>
                <a:gd name="T62" fmla="*/ 310 w 642"/>
                <a:gd name="T63" fmla="*/ 1902 h 2048"/>
                <a:gd name="T64" fmla="*/ 292 w 642"/>
                <a:gd name="T65" fmla="*/ 1886 h 2048"/>
                <a:gd name="T66" fmla="*/ 276 w 642"/>
                <a:gd name="T67" fmla="*/ 1868 h 2048"/>
                <a:gd name="T68" fmla="*/ 264 w 642"/>
                <a:gd name="T69" fmla="*/ 1844 h 2048"/>
                <a:gd name="T70" fmla="*/ 256 w 642"/>
                <a:gd name="T71" fmla="*/ 1820 h 2048"/>
                <a:gd name="T72" fmla="*/ 254 w 642"/>
                <a:gd name="T73" fmla="*/ 179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42" h="2048">
                  <a:moveTo>
                    <a:pt x="0" y="0"/>
                  </a:moveTo>
                  <a:lnTo>
                    <a:pt x="0" y="2048"/>
                  </a:lnTo>
                  <a:lnTo>
                    <a:pt x="642" y="2048"/>
                  </a:lnTo>
                  <a:lnTo>
                    <a:pt x="642" y="0"/>
                  </a:lnTo>
                  <a:lnTo>
                    <a:pt x="0" y="0"/>
                  </a:lnTo>
                  <a:close/>
                  <a:moveTo>
                    <a:pt x="254" y="1794"/>
                  </a:moveTo>
                  <a:lnTo>
                    <a:pt x="254" y="1794"/>
                  </a:lnTo>
                  <a:lnTo>
                    <a:pt x="254" y="1780"/>
                  </a:lnTo>
                  <a:lnTo>
                    <a:pt x="256" y="1768"/>
                  </a:lnTo>
                  <a:lnTo>
                    <a:pt x="260" y="1756"/>
                  </a:lnTo>
                  <a:lnTo>
                    <a:pt x="264" y="1744"/>
                  </a:lnTo>
                  <a:lnTo>
                    <a:pt x="270" y="1732"/>
                  </a:lnTo>
                  <a:lnTo>
                    <a:pt x="276" y="1720"/>
                  </a:lnTo>
                  <a:lnTo>
                    <a:pt x="284" y="1710"/>
                  </a:lnTo>
                  <a:lnTo>
                    <a:pt x="292" y="1702"/>
                  </a:lnTo>
                  <a:lnTo>
                    <a:pt x="300" y="1694"/>
                  </a:lnTo>
                  <a:lnTo>
                    <a:pt x="310" y="1686"/>
                  </a:lnTo>
                  <a:lnTo>
                    <a:pt x="322" y="1680"/>
                  </a:lnTo>
                  <a:lnTo>
                    <a:pt x="334" y="1674"/>
                  </a:lnTo>
                  <a:lnTo>
                    <a:pt x="346" y="1670"/>
                  </a:lnTo>
                  <a:lnTo>
                    <a:pt x="358" y="1666"/>
                  </a:lnTo>
                  <a:lnTo>
                    <a:pt x="370" y="1664"/>
                  </a:lnTo>
                  <a:lnTo>
                    <a:pt x="384" y="1664"/>
                  </a:lnTo>
                  <a:lnTo>
                    <a:pt x="384" y="1664"/>
                  </a:lnTo>
                  <a:lnTo>
                    <a:pt x="398" y="1664"/>
                  </a:lnTo>
                  <a:lnTo>
                    <a:pt x="410" y="1666"/>
                  </a:lnTo>
                  <a:lnTo>
                    <a:pt x="422" y="1670"/>
                  </a:lnTo>
                  <a:lnTo>
                    <a:pt x="434" y="1674"/>
                  </a:lnTo>
                  <a:lnTo>
                    <a:pt x="446" y="1680"/>
                  </a:lnTo>
                  <a:lnTo>
                    <a:pt x="458" y="1686"/>
                  </a:lnTo>
                  <a:lnTo>
                    <a:pt x="468" y="1694"/>
                  </a:lnTo>
                  <a:lnTo>
                    <a:pt x="476" y="1702"/>
                  </a:lnTo>
                  <a:lnTo>
                    <a:pt x="484" y="1710"/>
                  </a:lnTo>
                  <a:lnTo>
                    <a:pt x="492" y="1720"/>
                  </a:lnTo>
                  <a:lnTo>
                    <a:pt x="498" y="1732"/>
                  </a:lnTo>
                  <a:lnTo>
                    <a:pt x="504" y="1744"/>
                  </a:lnTo>
                  <a:lnTo>
                    <a:pt x="508" y="1756"/>
                  </a:lnTo>
                  <a:lnTo>
                    <a:pt x="512" y="1768"/>
                  </a:lnTo>
                  <a:lnTo>
                    <a:pt x="514" y="1780"/>
                  </a:lnTo>
                  <a:lnTo>
                    <a:pt x="514" y="1794"/>
                  </a:lnTo>
                  <a:lnTo>
                    <a:pt x="514" y="1794"/>
                  </a:lnTo>
                  <a:lnTo>
                    <a:pt x="514" y="1808"/>
                  </a:lnTo>
                  <a:lnTo>
                    <a:pt x="512" y="1820"/>
                  </a:lnTo>
                  <a:lnTo>
                    <a:pt x="508" y="1832"/>
                  </a:lnTo>
                  <a:lnTo>
                    <a:pt x="504" y="1844"/>
                  </a:lnTo>
                  <a:lnTo>
                    <a:pt x="498" y="1856"/>
                  </a:lnTo>
                  <a:lnTo>
                    <a:pt x="492" y="1868"/>
                  </a:lnTo>
                  <a:lnTo>
                    <a:pt x="484" y="1878"/>
                  </a:lnTo>
                  <a:lnTo>
                    <a:pt x="476" y="1886"/>
                  </a:lnTo>
                  <a:lnTo>
                    <a:pt x="468" y="1894"/>
                  </a:lnTo>
                  <a:lnTo>
                    <a:pt x="458" y="1902"/>
                  </a:lnTo>
                  <a:lnTo>
                    <a:pt x="446" y="1908"/>
                  </a:lnTo>
                  <a:lnTo>
                    <a:pt x="434" y="1914"/>
                  </a:lnTo>
                  <a:lnTo>
                    <a:pt x="422" y="1918"/>
                  </a:lnTo>
                  <a:lnTo>
                    <a:pt x="410" y="1922"/>
                  </a:lnTo>
                  <a:lnTo>
                    <a:pt x="398" y="1924"/>
                  </a:lnTo>
                  <a:lnTo>
                    <a:pt x="384" y="1924"/>
                  </a:lnTo>
                  <a:lnTo>
                    <a:pt x="384" y="1924"/>
                  </a:lnTo>
                  <a:lnTo>
                    <a:pt x="370" y="1924"/>
                  </a:lnTo>
                  <a:lnTo>
                    <a:pt x="358" y="1922"/>
                  </a:lnTo>
                  <a:lnTo>
                    <a:pt x="346" y="1918"/>
                  </a:lnTo>
                  <a:lnTo>
                    <a:pt x="334" y="1914"/>
                  </a:lnTo>
                  <a:lnTo>
                    <a:pt x="322" y="1908"/>
                  </a:lnTo>
                  <a:lnTo>
                    <a:pt x="310" y="1902"/>
                  </a:lnTo>
                  <a:lnTo>
                    <a:pt x="300" y="1894"/>
                  </a:lnTo>
                  <a:lnTo>
                    <a:pt x="292" y="1886"/>
                  </a:lnTo>
                  <a:lnTo>
                    <a:pt x="284" y="1878"/>
                  </a:lnTo>
                  <a:lnTo>
                    <a:pt x="276" y="1868"/>
                  </a:lnTo>
                  <a:lnTo>
                    <a:pt x="270" y="1856"/>
                  </a:lnTo>
                  <a:lnTo>
                    <a:pt x="264" y="1844"/>
                  </a:lnTo>
                  <a:lnTo>
                    <a:pt x="260" y="1832"/>
                  </a:lnTo>
                  <a:lnTo>
                    <a:pt x="256" y="1820"/>
                  </a:lnTo>
                  <a:lnTo>
                    <a:pt x="254" y="1808"/>
                  </a:lnTo>
                  <a:lnTo>
                    <a:pt x="254" y="1794"/>
                  </a:lnTo>
                  <a:lnTo>
                    <a:pt x="254" y="17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6D33443-9BE1-44D8-A678-7FC835D7F0E0}"/>
              </a:ext>
            </a:extLst>
          </p:cNvPr>
          <p:cNvGrpSpPr/>
          <p:nvPr/>
        </p:nvGrpSpPr>
        <p:grpSpPr>
          <a:xfrm>
            <a:off x="4242649" y="2141904"/>
            <a:ext cx="364607" cy="314313"/>
            <a:chOff x="10456863" y="1954213"/>
            <a:chExt cx="276225" cy="238125"/>
          </a:xfrm>
          <a:solidFill>
            <a:schemeClr val="accent1"/>
          </a:solidFill>
        </p:grpSpPr>
        <p:sp>
          <p:nvSpPr>
            <p:cNvPr id="63" name="Freeform 3638">
              <a:extLst>
                <a:ext uri="{FF2B5EF4-FFF2-40B4-BE49-F238E27FC236}">
                  <a16:creationId xmlns:a16="http://schemas.microsoft.com/office/drawing/2014/main" id="{BB5C5835-418D-41D2-AC1A-9F74D8723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67975" y="1954213"/>
              <a:ext cx="236537" cy="95250"/>
            </a:xfrm>
            <a:custGeom>
              <a:avLst/>
              <a:gdLst>
                <a:gd name="T0" fmla="*/ 599 w 599"/>
                <a:gd name="T1" fmla="*/ 11 h 241"/>
                <a:gd name="T2" fmla="*/ 591 w 599"/>
                <a:gd name="T3" fmla="*/ 6 h 241"/>
                <a:gd name="T4" fmla="*/ 582 w 599"/>
                <a:gd name="T5" fmla="*/ 2 h 241"/>
                <a:gd name="T6" fmla="*/ 572 w 599"/>
                <a:gd name="T7" fmla="*/ 0 h 241"/>
                <a:gd name="T8" fmla="*/ 560 w 599"/>
                <a:gd name="T9" fmla="*/ 0 h 241"/>
                <a:gd name="T10" fmla="*/ 46 w 599"/>
                <a:gd name="T11" fmla="*/ 0 h 241"/>
                <a:gd name="T12" fmla="*/ 33 w 599"/>
                <a:gd name="T13" fmla="*/ 1 h 241"/>
                <a:gd name="T14" fmla="*/ 21 w 599"/>
                <a:gd name="T15" fmla="*/ 3 h 241"/>
                <a:gd name="T16" fmla="*/ 9 w 599"/>
                <a:gd name="T17" fmla="*/ 7 h 241"/>
                <a:gd name="T18" fmla="*/ 0 w 599"/>
                <a:gd name="T19" fmla="*/ 14 h 241"/>
                <a:gd name="T20" fmla="*/ 315 w 599"/>
                <a:gd name="T21" fmla="*/ 241 h 241"/>
                <a:gd name="T22" fmla="*/ 599 w 599"/>
                <a:gd name="T23" fmla="*/ 1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9" h="241">
                  <a:moveTo>
                    <a:pt x="599" y="11"/>
                  </a:moveTo>
                  <a:lnTo>
                    <a:pt x="591" y="6"/>
                  </a:lnTo>
                  <a:lnTo>
                    <a:pt x="582" y="2"/>
                  </a:lnTo>
                  <a:lnTo>
                    <a:pt x="572" y="0"/>
                  </a:lnTo>
                  <a:lnTo>
                    <a:pt x="560" y="0"/>
                  </a:lnTo>
                  <a:lnTo>
                    <a:pt x="46" y="0"/>
                  </a:lnTo>
                  <a:lnTo>
                    <a:pt x="33" y="1"/>
                  </a:lnTo>
                  <a:lnTo>
                    <a:pt x="21" y="3"/>
                  </a:lnTo>
                  <a:lnTo>
                    <a:pt x="9" y="7"/>
                  </a:lnTo>
                  <a:lnTo>
                    <a:pt x="0" y="14"/>
                  </a:lnTo>
                  <a:lnTo>
                    <a:pt x="315" y="241"/>
                  </a:lnTo>
                  <a:lnTo>
                    <a:pt x="59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4" name="Freeform 3639">
              <a:extLst>
                <a:ext uri="{FF2B5EF4-FFF2-40B4-BE49-F238E27FC236}">
                  <a16:creationId xmlns:a16="http://schemas.microsoft.com/office/drawing/2014/main" id="{B919657A-066C-4C64-B249-EF7494213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6863" y="1966913"/>
              <a:ext cx="257175" cy="158750"/>
            </a:xfrm>
            <a:custGeom>
              <a:avLst/>
              <a:gdLst>
                <a:gd name="T0" fmla="*/ 552 w 649"/>
                <a:gd name="T1" fmla="*/ 257 h 402"/>
                <a:gd name="T2" fmla="*/ 565 w 649"/>
                <a:gd name="T3" fmla="*/ 258 h 402"/>
                <a:gd name="T4" fmla="*/ 579 w 649"/>
                <a:gd name="T5" fmla="*/ 260 h 402"/>
                <a:gd name="T6" fmla="*/ 591 w 649"/>
                <a:gd name="T7" fmla="*/ 262 h 402"/>
                <a:gd name="T8" fmla="*/ 604 w 649"/>
                <a:gd name="T9" fmla="*/ 266 h 402"/>
                <a:gd name="T10" fmla="*/ 615 w 649"/>
                <a:gd name="T11" fmla="*/ 270 h 402"/>
                <a:gd name="T12" fmla="*/ 627 w 649"/>
                <a:gd name="T13" fmla="*/ 275 h 402"/>
                <a:gd name="T14" fmla="*/ 638 w 649"/>
                <a:gd name="T15" fmla="*/ 282 h 402"/>
                <a:gd name="T16" fmla="*/ 649 w 649"/>
                <a:gd name="T17" fmla="*/ 288 h 402"/>
                <a:gd name="T18" fmla="*/ 649 w 649"/>
                <a:gd name="T19" fmla="*/ 40 h 402"/>
                <a:gd name="T20" fmla="*/ 649 w 649"/>
                <a:gd name="T21" fmla="*/ 29 h 402"/>
                <a:gd name="T22" fmla="*/ 646 w 649"/>
                <a:gd name="T23" fmla="*/ 18 h 402"/>
                <a:gd name="T24" fmla="*/ 644 w 649"/>
                <a:gd name="T25" fmla="*/ 9 h 402"/>
                <a:gd name="T26" fmla="*/ 641 w 649"/>
                <a:gd name="T27" fmla="*/ 0 h 402"/>
                <a:gd name="T28" fmla="*/ 349 w 649"/>
                <a:gd name="T29" fmla="*/ 235 h 402"/>
                <a:gd name="T30" fmla="*/ 346 w 649"/>
                <a:gd name="T31" fmla="*/ 238 h 402"/>
                <a:gd name="T32" fmla="*/ 342 w 649"/>
                <a:gd name="T33" fmla="*/ 238 h 402"/>
                <a:gd name="T34" fmla="*/ 338 w 649"/>
                <a:gd name="T35" fmla="*/ 238 h 402"/>
                <a:gd name="T36" fmla="*/ 334 w 649"/>
                <a:gd name="T37" fmla="*/ 237 h 402"/>
                <a:gd name="T38" fmla="*/ 10 w 649"/>
                <a:gd name="T39" fmla="*/ 2 h 402"/>
                <a:gd name="T40" fmla="*/ 5 w 649"/>
                <a:gd name="T41" fmla="*/ 11 h 402"/>
                <a:gd name="T42" fmla="*/ 3 w 649"/>
                <a:gd name="T43" fmla="*/ 20 h 402"/>
                <a:gd name="T44" fmla="*/ 0 w 649"/>
                <a:gd name="T45" fmla="*/ 29 h 402"/>
                <a:gd name="T46" fmla="*/ 0 w 649"/>
                <a:gd name="T47" fmla="*/ 40 h 402"/>
                <a:gd name="T48" fmla="*/ 0 w 649"/>
                <a:gd name="T49" fmla="*/ 329 h 402"/>
                <a:gd name="T50" fmla="*/ 0 w 649"/>
                <a:gd name="T51" fmla="*/ 337 h 402"/>
                <a:gd name="T52" fmla="*/ 1 w 649"/>
                <a:gd name="T53" fmla="*/ 343 h 402"/>
                <a:gd name="T54" fmla="*/ 3 w 649"/>
                <a:gd name="T55" fmla="*/ 351 h 402"/>
                <a:gd name="T56" fmla="*/ 5 w 649"/>
                <a:gd name="T57" fmla="*/ 357 h 402"/>
                <a:gd name="T58" fmla="*/ 8 w 649"/>
                <a:gd name="T59" fmla="*/ 362 h 402"/>
                <a:gd name="T60" fmla="*/ 12 w 649"/>
                <a:gd name="T61" fmla="*/ 369 h 402"/>
                <a:gd name="T62" fmla="*/ 16 w 649"/>
                <a:gd name="T63" fmla="*/ 374 h 402"/>
                <a:gd name="T64" fmla="*/ 21 w 649"/>
                <a:gd name="T65" fmla="*/ 379 h 402"/>
                <a:gd name="T66" fmla="*/ 31 w 649"/>
                <a:gd name="T67" fmla="*/ 388 h 402"/>
                <a:gd name="T68" fmla="*/ 43 w 649"/>
                <a:gd name="T69" fmla="*/ 395 h 402"/>
                <a:gd name="T70" fmla="*/ 49 w 649"/>
                <a:gd name="T71" fmla="*/ 397 h 402"/>
                <a:gd name="T72" fmla="*/ 57 w 649"/>
                <a:gd name="T73" fmla="*/ 400 h 402"/>
                <a:gd name="T74" fmla="*/ 63 w 649"/>
                <a:gd name="T75" fmla="*/ 401 h 402"/>
                <a:gd name="T76" fmla="*/ 71 w 649"/>
                <a:gd name="T77" fmla="*/ 402 h 402"/>
                <a:gd name="T78" fmla="*/ 387 w 649"/>
                <a:gd name="T79" fmla="*/ 402 h 402"/>
                <a:gd name="T80" fmla="*/ 389 w 649"/>
                <a:gd name="T81" fmla="*/ 387 h 402"/>
                <a:gd name="T82" fmla="*/ 393 w 649"/>
                <a:gd name="T83" fmla="*/ 373 h 402"/>
                <a:gd name="T84" fmla="*/ 398 w 649"/>
                <a:gd name="T85" fmla="*/ 359 h 402"/>
                <a:gd name="T86" fmla="*/ 405 w 649"/>
                <a:gd name="T87" fmla="*/ 345 h 402"/>
                <a:gd name="T88" fmla="*/ 412 w 649"/>
                <a:gd name="T89" fmla="*/ 332 h 402"/>
                <a:gd name="T90" fmla="*/ 421 w 649"/>
                <a:gd name="T91" fmla="*/ 320 h 402"/>
                <a:gd name="T92" fmla="*/ 432 w 649"/>
                <a:gd name="T93" fmla="*/ 310 h 402"/>
                <a:gd name="T94" fmla="*/ 442 w 649"/>
                <a:gd name="T95" fmla="*/ 300 h 402"/>
                <a:gd name="T96" fmla="*/ 453 w 649"/>
                <a:gd name="T97" fmla="*/ 291 h 402"/>
                <a:gd name="T98" fmla="*/ 466 w 649"/>
                <a:gd name="T99" fmla="*/ 282 h 402"/>
                <a:gd name="T100" fmla="*/ 479 w 649"/>
                <a:gd name="T101" fmla="*/ 275 h 402"/>
                <a:gd name="T102" fmla="*/ 492 w 649"/>
                <a:gd name="T103" fmla="*/ 269 h 402"/>
                <a:gd name="T104" fmla="*/ 506 w 649"/>
                <a:gd name="T105" fmla="*/ 264 h 402"/>
                <a:gd name="T106" fmla="*/ 522 w 649"/>
                <a:gd name="T107" fmla="*/ 261 h 402"/>
                <a:gd name="T108" fmla="*/ 537 w 649"/>
                <a:gd name="T109" fmla="*/ 258 h 402"/>
                <a:gd name="T110" fmla="*/ 552 w 649"/>
                <a:gd name="T111" fmla="*/ 257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9" h="402">
                  <a:moveTo>
                    <a:pt x="552" y="257"/>
                  </a:moveTo>
                  <a:lnTo>
                    <a:pt x="565" y="258"/>
                  </a:lnTo>
                  <a:lnTo>
                    <a:pt x="579" y="260"/>
                  </a:lnTo>
                  <a:lnTo>
                    <a:pt x="591" y="262"/>
                  </a:lnTo>
                  <a:lnTo>
                    <a:pt x="604" y="266"/>
                  </a:lnTo>
                  <a:lnTo>
                    <a:pt x="615" y="270"/>
                  </a:lnTo>
                  <a:lnTo>
                    <a:pt x="627" y="275"/>
                  </a:lnTo>
                  <a:lnTo>
                    <a:pt x="638" y="282"/>
                  </a:lnTo>
                  <a:lnTo>
                    <a:pt x="649" y="288"/>
                  </a:lnTo>
                  <a:lnTo>
                    <a:pt x="649" y="40"/>
                  </a:lnTo>
                  <a:lnTo>
                    <a:pt x="649" y="29"/>
                  </a:lnTo>
                  <a:lnTo>
                    <a:pt x="646" y="18"/>
                  </a:lnTo>
                  <a:lnTo>
                    <a:pt x="644" y="9"/>
                  </a:lnTo>
                  <a:lnTo>
                    <a:pt x="641" y="0"/>
                  </a:lnTo>
                  <a:lnTo>
                    <a:pt x="349" y="235"/>
                  </a:lnTo>
                  <a:lnTo>
                    <a:pt x="346" y="238"/>
                  </a:lnTo>
                  <a:lnTo>
                    <a:pt x="342" y="238"/>
                  </a:lnTo>
                  <a:lnTo>
                    <a:pt x="338" y="238"/>
                  </a:lnTo>
                  <a:lnTo>
                    <a:pt x="334" y="237"/>
                  </a:lnTo>
                  <a:lnTo>
                    <a:pt x="10" y="2"/>
                  </a:lnTo>
                  <a:lnTo>
                    <a:pt x="5" y="11"/>
                  </a:lnTo>
                  <a:lnTo>
                    <a:pt x="3" y="20"/>
                  </a:lnTo>
                  <a:lnTo>
                    <a:pt x="0" y="29"/>
                  </a:lnTo>
                  <a:lnTo>
                    <a:pt x="0" y="40"/>
                  </a:lnTo>
                  <a:lnTo>
                    <a:pt x="0" y="329"/>
                  </a:lnTo>
                  <a:lnTo>
                    <a:pt x="0" y="337"/>
                  </a:lnTo>
                  <a:lnTo>
                    <a:pt x="1" y="343"/>
                  </a:lnTo>
                  <a:lnTo>
                    <a:pt x="3" y="351"/>
                  </a:lnTo>
                  <a:lnTo>
                    <a:pt x="5" y="357"/>
                  </a:lnTo>
                  <a:lnTo>
                    <a:pt x="8" y="362"/>
                  </a:lnTo>
                  <a:lnTo>
                    <a:pt x="12" y="369"/>
                  </a:lnTo>
                  <a:lnTo>
                    <a:pt x="16" y="374"/>
                  </a:lnTo>
                  <a:lnTo>
                    <a:pt x="21" y="379"/>
                  </a:lnTo>
                  <a:lnTo>
                    <a:pt x="31" y="388"/>
                  </a:lnTo>
                  <a:lnTo>
                    <a:pt x="43" y="395"/>
                  </a:lnTo>
                  <a:lnTo>
                    <a:pt x="49" y="397"/>
                  </a:lnTo>
                  <a:lnTo>
                    <a:pt x="57" y="400"/>
                  </a:lnTo>
                  <a:lnTo>
                    <a:pt x="63" y="401"/>
                  </a:lnTo>
                  <a:lnTo>
                    <a:pt x="71" y="402"/>
                  </a:lnTo>
                  <a:lnTo>
                    <a:pt x="387" y="402"/>
                  </a:lnTo>
                  <a:lnTo>
                    <a:pt x="389" y="387"/>
                  </a:lnTo>
                  <a:lnTo>
                    <a:pt x="393" y="373"/>
                  </a:lnTo>
                  <a:lnTo>
                    <a:pt x="398" y="359"/>
                  </a:lnTo>
                  <a:lnTo>
                    <a:pt x="405" y="345"/>
                  </a:lnTo>
                  <a:lnTo>
                    <a:pt x="412" y="332"/>
                  </a:lnTo>
                  <a:lnTo>
                    <a:pt x="421" y="320"/>
                  </a:lnTo>
                  <a:lnTo>
                    <a:pt x="432" y="310"/>
                  </a:lnTo>
                  <a:lnTo>
                    <a:pt x="442" y="300"/>
                  </a:lnTo>
                  <a:lnTo>
                    <a:pt x="453" y="291"/>
                  </a:lnTo>
                  <a:lnTo>
                    <a:pt x="466" y="282"/>
                  </a:lnTo>
                  <a:lnTo>
                    <a:pt x="479" y="275"/>
                  </a:lnTo>
                  <a:lnTo>
                    <a:pt x="492" y="269"/>
                  </a:lnTo>
                  <a:lnTo>
                    <a:pt x="506" y="264"/>
                  </a:lnTo>
                  <a:lnTo>
                    <a:pt x="522" y="261"/>
                  </a:lnTo>
                  <a:lnTo>
                    <a:pt x="537" y="258"/>
                  </a:lnTo>
                  <a:lnTo>
                    <a:pt x="552" y="2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5" name="Freeform 3640">
              <a:extLst>
                <a:ext uri="{FF2B5EF4-FFF2-40B4-BE49-F238E27FC236}">
                  <a16:creationId xmlns:a16="http://schemas.microsoft.com/office/drawing/2014/main" id="{DB0B9B61-59AB-4F7E-BE43-6AEC4B869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8788" y="2078038"/>
              <a:ext cx="114300" cy="114300"/>
            </a:xfrm>
            <a:custGeom>
              <a:avLst/>
              <a:gdLst>
                <a:gd name="T0" fmla="*/ 111 w 287"/>
                <a:gd name="T1" fmla="*/ 253 h 289"/>
                <a:gd name="T2" fmla="*/ 77 w 287"/>
                <a:gd name="T3" fmla="*/ 235 h 289"/>
                <a:gd name="T4" fmla="*/ 66 w 287"/>
                <a:gd name="T5" fmla="*/ 242 h 289"/>
                <a:gd name="T6" fmla="*/ 48 w 287"/>
                <a:gd name="T7" fmla="*/ 242 h 289"/>
                <a:gd name="T8" fmla="*/ 107 w 287"/>
                <a:gd name="T9" fmla="*/ 181 h 289"/>
                <a:gd name="T10" fmla="*/ 119 w 287"/>
                <a:gd name="T11" fmla="*/ 192 h 289"/>
                <a:gd name="T12" fmla="*/ 107 w 287"/>
                <a:gd name="T13" fmla="*/ 204 h 289"/>
                <a:gd name="T14" fmla="*/ 100 w 287"/>
                <a:gd name="T15" fmla="*/ 220 h 289"/>
                <a:gd name="T16" fmla="*/ 133 w 287"/>
                <a:gd name="T17" fmla="*/ 232 h 289"/>
                <a:gd name="T18" fmla="*/ 165 w 287"/>
                <a:gd name="T19" fmla="*/ 228 h 289"/>
                <a:gd name="T20" fmla="*/ 193 w 287"/>
                <a:gd name="T21" fmla="*/ 214 h 289"/>
                <a:gd name="T22" fmla="*/ 214 w 287"/>
                <a:gd name="T23" fmla="*/ 190 h 289"/>
                <a:gd name="T24" fmla="*/ 223 w 287"/>
                <a:gd name="T25" fmla="*/ 159 h 289"/>
                <a:gd name="T26" fmla="*/ 245 w 287"/>
                <a:gd name="T27" fmla="*/ 172 h 289"/>
                <a:gd name="T28" fmla="*/ 229 w 287"/>
                <a:gd name="T29" fmla="*/ 210 h 289"/>
                <a:gd name="T30" fmla="*/ 201 w 287"/>
                <a:gd name="T31" fmla="*/ 238 h 289"/>
                <a:gd name="T32" fmla="*/ 163 w 287"/>
                <a:gd name="T33" fmla="*/ 254 h 289"/>
                <a:gd name="T34" fmla="*/ 39 w 287"/>
                <a:gd name="T35" fmla="*/ 138 h 289"/>
                <a:gd name="T36" fmla="*/ 52 w 287"/>
                <a:gd name="T37" fmla="*/ 98 h 289"/>
                <a:gd name="T38" fmla="*/ 78 w 287"/>
                <a:gd name="T39" fmla="*/ 66 h 289"/>
                <a:gd name="T40" fmla="*/ 114 w 287"/>
                <a:gd name="T41" fmla="*/ 47 h 289"/>
                <a:gd name="T42" fmla="*/ 155 w 287"/>
                <a:gd name="T43" fmla="*/ 43 h 289"/>
                <a:gd name="T44" fmla="*/ 188 w 287"/>
                <a:gd name="T45" fmla="*/ 54 h 289"/>
                <a:gd name="T46" fmla="*/ 211 w 287"/>
                <a:gd name="T47" fmla="*/ 51 h 289"/>
                <a:gd name="T48" fmla="*/ 223 w 287"/>
                <a:gd name="T49" fmla="*/ 39 h 289"/>
                <a:gd name="T50" fmla="*/ 235 w 287"/>
                <a:gd name="T51" fmla="*/ 51 h 289"/>
                <a:gd name="T52" fmla="*/ 165 w 287"/>
                <a:gd name="T53" fmla="*/ 118 h 289"/>
                <a:gd name="T54" fmla="*/ 165 w 287"/>
                <a:gd name="T55" fmla="*/ 101 h 289"/>
                <a:gd name="T56" fmla="*/ 197 w 287"/>
                <a:gd name="T57" fmla="*/ 91 h 289"/>
                <a:gd name="T58" fmla="*/ 172 w 287"/>
                <a:gd name="T59" fmla="*/ 72 h 289"/>
                <a:gd name="T60" fmla="*/ 137 w 287"/>
                <a:gd name="T61" fmla="*/ 66 h 289"/>
                <a:gd name="T62" fmla="*/ 106 w 287"/>
                <a:gd name="T63" fmla="*/ 77 h 289"/>
                <a:gd name="T64" fmla="*/ 82 w 287"/>
                <a:gd name="T65" fmla="*/ 96 h 289"/>
                <a:gd name="T66" fmla="*/ 68 w 287"/>
                <a:gd name="T67" fmla="*/ 124 h 289"/>
                <a:gd name="T68" fmla="*/ 39 w 287"/>
                <a:gd name="T69" fmla="*/ 149 h 289"/>
                <a:gd name="T70" fmla="*/ 101 w 287"/>
                <a:gd name="T71" fmla="*/ 6 h 289"/>
                <a:gd name="T72" fmla="*/ 52 w 287"/>
                <a:gd name="T73" fmla="*/ 33 h 289"/>
                <a:gd name="T74" fmla="*/ 16 w 287"/>
                <a:gd name="T75" fmla="*/ 75 h 289"/>
                <a:gd name="T76" fmla="*/ 0 w 287"/>
                <a:gd name="T77" fmla="*/ 129 h 289"/>
                <a:gd name="T78" fmla="*/ 6 w 287"/>
                <a:gd name="T79" fmla="*/ 187 h 289"/>
                <a:gd name="T80" fmla="*/ 32 w 287"/>
                <a:gd name="T81" fmla="*/ 236 h 289"/>
                <a:gd name="T82" fmla="*/ 75 w 287"/>
                <a:gd name="T83" fmla="*/ 271 h 289"/>
                <a:gd name="T84" fmla="*/ 129 w 287"/>
                <a:gd name="T85" fmla="*/ 287 h 289"/>
                <a:gd name="T86" fmla="*/ 186 w 287"/>
                <a:gd name="T87" fmla="*/ 282 h 289"/>
                <a:gd name="T88" fmla="*/ 235 w 287"/>
                <a:gd name="T89" fmla="*/ 255 h 289"/>
                <a:gd name="T90" fmla="*/ 270 w 287"/>
                <a:gd name="T91" fmla="*/ 213 h 289"/>
                <a:gd name="T92" fmla="*/ 287 w 287"/>
                <a:gd name="T93" fmla="*/ 159 h 289"/>
                <a:gd name="T94" fmla="*/ 281 w 287"/>
                <a:gd name="T95" fmla="*/ 101 h 289"/>
                <a:gd name="T96" fmla="*/ 255 w 287"/>
                <a:gd name="T97" fmla="*/ 52 h 289"/>
                <a:gd name="T98" fmla="*/ 213 w 287"/>
                <a:gd name="T99" fmla="*/ 18 h 289"/>
                <a:gd name="T100" fmla="*/ 159 w 287"/>
                <a:gd name="T101" fmla="*/ 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7" h="289">
                  <a:moveTo>
                    <a:pt x="142" y="256"/>
                  </a:moveTo>
                  <a:lnTo>
                    <a:pt x="132" y="256"/>
                  </a:lnTo>
                  <a:lnTo>
                    <a:pt x="122" y="254"/>
                  </a:lnTo>
                  <a:lnTo>
                    <a:pt x="111" y="253"/>
                  </a:lnTo>
                  <a:lnTo>
                    <a:pt x="102" y="249"/>
                  </a:lnTo>
                  <a:lnTo>
                    <a:pt x="93" y="245"/>
                  </a:lnTo>
                  <a:lnTo>
                    <a:pt x="84" y="240"/>
                  </a:lnTo>
                  <a:lnTo>
                    <a:pt x="77" y="235"/>
                  </a:lnTo>
                  <a:lnTo>
                    <a:pt x="69" y="228"/>
                  </a:lnTo>
                  <a:lnTo>
                    <a:pt x="69" y="233"/>
                  </a:lnTo>
                  <a:lnTo>
                    <a:pt x="69" y="238"/>
                  </a:lnTo>
                  <a:lnTo>
                    <a:pt x="66" y="242"/>
                  </a:lnTo>
                  <a:lnTo>
                    <a:pt x="62" y="245"/>
                  </a:lnTo>
                  <a:lnTo>
                    <a:pt x="57" y="246"/>
                  </a:lnTo>
                  <a:lnTo>
                    <a:pt x="52" y="245"/>
                  </a:lnTo>
                  <a:lnTo>
                    <a:pt x="48" y="242"/>
                  </a:lnTo>
                  <a:lnTo>
                    <a:pt x="46" y="238"/>
                  </a:lnTo>
                  <a:lnTo>
                    <a:pt x="46" y="233"/>
                  </a:lnTo>
                  <a:lnTo>
                    <a:pt x="46" y="181"/>
                  </a:lnTo>
                  <a:lnTo>
                    <a:pt x="107" y="181"/>
                  </a:lnTo>
                  <a:lnTo>
                    <a:pt x="111" y="181"/>
                  </a:lnTo>
                  <a:lnTo>
                    <a:pt x="115" y="183"/>
                  </a:lnTo>
                  <a:lnTo>
                    <a:pt x="118" y="187"/>
                  </a:lnTo>
                  <a:lnTo>
                    <a:pt x="119" y="192"/>
                  </a:lnTo>
                  <a:lnTo>
                    <a:pt x="118" y="197"/>
                  </a:lnTo>
                  <a:lnTo>
                    <a:pt x="115" y="201"/>
                  </a:lnTo>
                  <a:lnTo>
                    <a:pt x="111" y="204"/>
                  </a:lnTo>
                  <a:lnTo>
                    <a:pt x="107" y="204"/>
                  </a:lnTo>
                  <a:lnTo>
                    <a:pt x="79" y="204"/>
                  </a:lnTo>
                  <a:lnTo>
                    <a:pt x="86" y="210"/>
                  </a:lnTo>
                  <a:lnTo>
                    <a:pt x="92" y="215"/>
                  </a:lnTo>
                  <a:lnTo>
                    <a:pt x="100" y="220"/>
                  </a:lnTo>
                  <a:lnTo>
                    <a:pt x="107" y="224"/>
                  </a:lnTo>
                  <a:lnTo>
                    <a:pt x="115" y="228"/>
                  </a:lnTo>
                  <a:lnTo>
                    <a:pt x="124" y="231"/>
                  </a:lnTo>
                  <a:lnTo>
                    <a:pt x="133" y="232"/>
                  </a:lnTo>
                  <a:lnTo>
                    <a:pt x="142" y="232"/>
                  </a:lnTo>
                  <a:lnTo>
                    <a:pt x="150" y="232"/>
                  </a:lnTo>
                  <a:lnTo>
                    <a:pt x="157" y="231"/>
                  </a:lnTo>
                  <a:lnTo>
                    <a:pt x="165" y="228"/>
                  </a:lnTo>
                  <a:lnTo>
                    <a:pt x="173" y="226"/>
                  </a:lnTo>
                  <a:lnTo>
                    <a:pt x="181" y="223"/>
                  </a:lnTo>
                  <a:lnTo>
                    <a:pt x="187" y="218"/>
                  </a:lnTo>
                  <a:lnTo>
                    <a:pt x="193" y="214"/>
                  </a:lnTo>
                  <a:lnTo>
                    <a:pt x="200" y="208"/>
                  </a:lnTo>
                  <a:lnTo>
                    <a:pt x="205" y="202"/>
                  </a:lnTo>
                  <a:lnTo>
                    <a:pt x="209" y="196"/>
                  </a:lnTo>
                  <a:lnTo>
                    <a:pt x="214" y="190"/>
                  </a:lnTo>
                  <a:lnTo>
                    <a:pt x="217" y="182"/>
                  </a:lnTo>
                  <a:lnTo>
                    <a:pt x="220" y="174"/>
                  </a:lnTo>
                  <a:lnTo>
                    <a:pt x="222" y="167"/>
                  </a:lnTo>
                  <a:lnTo>
                    <a:pt x="223" y="159"/>
                  </a:lnTo>
                  <a:lnTo>
                    <a:pt x="223" y="150"/>
                  </a:lnTo>
                  <a:lnTo>
                    <a:pt x="247" y="150"/>
                  </a:lnTo>
                  <a:lnTo>
                    <a:pt x="247" y="161"/>
                  </a:lnTo>
                  <a:lnTo>
                    <a:pt x="245" y="172"/>
                  </a:lnTo>
                  <a:lnTo>
                    <a:pt x="242" y="182"/>
                  </a:lnTo>
                  <a:lnTo>
                    <a:pt x="240" y="191"/>
                  </a:lnTo>
                  <a:lnTo>
                    <a:pt x="235" y="201"/>
                  </a:lnTo>
                  <a:lnTo>
                    <a:pt x="229" y="210"/>
                  </a:lnTo>
                  <a:lnTo>
                    <a:pt x="223" y="218"/>
                  </a:lnTo>
                  <a:lnTo>
                    <a:pt x="217" y="226"/>
                  </a:lnTo>
                  <a:lnTo>
                    <a:pt x="209" y="232"/>
                  </a:lnTo>
                  <a:lnTo>
                    <a:pt x="201" y="238"/>
                  </a:lnTo>
                  <a:lnTo>
                    <a:pt x="192" y="244"/>
                  </a:lnTo>
                  <a:lnTo>
                    <a:pt x="183" y="247"/>
                  </a:lnTo>
                  <a:lnTo>
                    <a:pt x="173" y="251"/>
                  </a:lnTo>
                  <a:lnTo>
                    <a:pt x="163" y="254"/>
                  </a:lnTo>
                  <a:lnTo>
                    <a:pt x="152" y="256"/>
                  </a:lnTo>
                  <a:lnTo>
                    <a:pt x="142" y="256"/>
                  </a:lnTo>
                  <a:close/>
                  <a:moveTo>
                    <a:pt x="39" y="149"/>
                  </a:moveTo>
                  <a:lnTo>
                    <a:pt x="39" y="138"/>
                  </a:lnTo>
                  <a:lnTo>
                    <a:pt x="42" y="127"/>
                  </a:lnTo>
                  <a:lnTo>
                    <a:pt x="44" y="116"/>
                  </a:lnTo>
                  <a:lnTo>
                    <a:pt x="48" y="107"/>
                  </a:lnTo>
                  <a:lnTo>
                    <a:pt x="52" y="98"/>
                  </a:lnTo>
                  <a:lnTo>
                    <a:pt x="57" y="89"/>
                  </a:lnTo>
                  <a:lnTo>
                    <a:pt x="64" y="80"/>
                  </a:lnTo>
                  <a:lnTo>
                    <a:pt x="70" y="74"/>
                  </a:lnTo>
                  <a:lnTo>
                    <a:pt x="78" y="66"/>
                  </a:lnTo>
                  <a:lnTo>
                    <a:pt x="87" y="61"/>
                  </a:lnTo>
                  <a:lnTo>
                    <a:pt x="95" y="55"/>
                  </a:lnTo>
                  <a:lnTo>
                    <a:pt x="105" y="51"/>
                  </a:lnTo>
                  <a:lnTo>
                    <a:pt x="114" y="47"/>
                  </a:lnTo>
                  <a:lnTo>
                    <a:pt x="124" y="45"/>
                  </a:lnTo>
                  <a:lnTo>
                    <a:pt x="134" y="43"/>
                  </a:lnTo>
                  <a:lnTo>
                    <a:pt x="146" y="42"/>
                  </a:lnTo>
                  <a:lnTo>
                    <a:pt x="155" y="43"/>
                  </a:lnTo>
                  <a:lnTo>
                    <a:pt x="164" y="45"/>
                  </a:lnTo>
                  <a:lnTo>
                    <a:pt x="173" y="47"/>
                  </a:lnTo>
                  <a:lnTo>
                    <a:pt x="181" y="50"/>
                  </a:lnTo>
                  <a:lnTo>
                    <a:pt x="188" y="54"/>
                  </a:lnTo>
                  <a:lnTo>
                    <a:pt x="196" y="59"/>
                  </a:lnTo>
                  <a:lnTo>
                    <a:pt x="204" y="65"/>
                  </a:lnTo>
                  <a:lnTo>
                    <a:pt x="211" y="72"/>
                  </a:lnTo>
                  <a:lnTo>
                    <a:pt x="211" y="51"/>
                  </a:lnTo>
                  <a:lnTo>
                    <a:pt x="211" y="47"/>
                  </a:lnTo>
                  <a:lnTo>
                    <a:pt x="214" y="43"/>
                  </a:lnTo>
                  <a:lnTo>
                    <a:pt x="218" y="41"/>
                  </a:lnTo>
                  <a:lnTo>
                    <a:pt x="223" y="39"/>
                  </a:lnTo>
                  <a:lnTo>
                    <a:pt x="228" y="41"/>
                  </a:lnTo>
                  <a:lnTo>
                    <a:pt x="232" y="43"/>
                  </a:lnTo>
                  <a:lnTo>
                    <a:pt x="235" y="47"/>
                  </a:lnTo>
                  <a:lnTo>
                    <a:pt x="235" y="51"/>
                  </a:lnTo>
                  <a:lnTo>
                    <a:pt x="235" y="122"/>
                  </a:lnTo>
                  <a:lnTo>
                    <a:pt x="173" y="122"/>
                  </a:lnTo>
                  <a:lnTo>
                    <a:pt x="169" y="120"/>
                  </a:lnTo>
                  <a:lnTo>
                    <a:pt x="165" y="118"/>
                  </a:lnTo>
                  <a:lnTo>
                    <a:pt x="163" y="114"/>
                  </a:lnTo>
                  <a:lnTo>
                    <a:pt x="161" y="109"/>
                  </a:lnTo>
                  <a:lnTo>
                    <a:pt x="163" y="105"/>
                  </a:lnTo>
                  <a:lnTo>
                    <a:pt x="165" y="101"/>
                  </a:lnTo>
                  <a:lnTo>
                    <a:pt x="169" y="98"/>
                  </a:lnTo>
                  <a:lnTo>
                    <a:pt x="173" y="97"/>
                  </a:lnTo>
                  <a:lnTo>
                    <a:pt x="201" y="97"/>
                  </a:lnTo>
                  <a:lnTo>
                    <a:pt x="197" y="91"/>
                  </a:lnTo>
                  <a:lnTo>
                    <a:pt x="191" y="86"/>
                  </a:lnTo>
                  <a:lnTo>
                    <a:pt x="186" y="80"/>
                  </a:lnTo>
                  <a:lnTo>
                    <a:pt x="179" y="75"/>
                  </a:lnTo>
                  <a:lnTo>
                    <a:pt x="172" y="72"/>
                  </a:lnTo>
                  <a:lnTo>
                    <a:pt x="164" y="69"/>
                  </a:lnTo>
                  <a:lnTo>
                    <a:pt x="155" y="68"/>
                  </a:lnTo>
                  <a:lnTo>
                    <a:pt x="146" y="66"/>
                  </a:lnTo>
                  <a:lnTo>
                    <a:pt x="137" y="66"/>
                  </a:lnTo>
                  <a:lnTo>
                    <a:pt x="129" y="68"/>
                  </a:lnTo>
                  <a:lnTo>
                    <a:pt x="122" y="70"/>
                  </a:lnTo>
                  <a:lnTo>
                    <a:pt x="114" y="73"/>
                  </a:lnTo>
                  <a:lnTo>
                    <a:pt x="106" y="77"/>
                  </a:lnTo>
                  <a:lnTo>
                    <a:pt x="100" y="80"/>
                  </a:lnTo>
                  <a:lnTo>
                    <a:pt x="93" y="86"/>
                  </a:lnTo>
                  <a:lnTo>
                    <a:pt x="88" y="91"/>
                  </a:lnTo>
                  <a:lnTo>
                    <a:pt x="82" y="96"/>
                  </a:lnTo>
                  <a:lnTo>
                    <a:pt x="78" y="102"/>
                  </a:lnTo>
                  <a:lnTo>
                    <a:pt x="74" y="110"/>
                  </a:lnTo>
                  <a:lnTo>
                    <a:pt x="70" y="116"/>
                  </a:lnTo>
                  <a:lnTo>
                    <a:pt x="68" y="124"/>
                  </a:lnTo>
                  <a:lnTo>
                    <a:pt x="65" y="132"/>
                  </a:lnTo>
                  <a:lnTo>
                    <a:pt x="64" y="141"/>
                  </a:lnTo>
                  <a:lnTo>
                    <a:pt x="64" y="149"/>
                  </a:lnTo>
                  <a:lnTo>
                    <a:pt x="39" y="149"/>
                  </a:lnTo>
                  <a:close/>
                  <a:moveTo>
                    <a:pt x="143" y="0"/>
                  </a:moveTo>
                  <a:lnTo>
                    <a:pt x="129" y="1"/>
                  </a:lnTo>
                  <a:lnTo>
                    <a:pt x="114" y="2"/>
                  </a:lnTo>
                  <a:lnTo>
                    <a:pt x="101" y="6"/>
                  </a:lnTo>
                  <a:lnTo>
                    <a:pt x="87" y="11"/>
                  </a:lnTo>
                  <a:lnTo>
                    <a:pt x="75" y="18"/>
                  </a:lnTo>
                  <a:lnTo>
                    <a:pt x="62" y="24"/>
                  </a:lnTo>
                  <a:lnTo>
                    <a:pt x="52" y="33"/>
                  </a:lnTo>
                  <a:lnTo>
                    <a:pt x="42" y="42"/>
                  </a:lnTo>
                  <a:lnTo>
                    <a:pt x="32" y="52"/>
                  </a:lnTo>
                  <a:lnTo>
                    <a:pt x="24" y="64"/>
                  </a:lnTo>
                  <a:lnTo>
                    <a:pt x="16" y="75"/>
                  </a:lnTo>
                  <a:lnTo>
                    <a:pt x="11" y="88"/>
                  </a:lnTo>
                  <a:lnTo>
                    <a:pt x="6" y="101"/>
                  </a:lnTo>
                  <a:lnTo>
                    <a:pt x="2" y="115"/>
                  </a:lnTo>
                  <a:lnTo>
                    <a:pt x="0" y="129"/>
                  </a:lnTo>
                  <a:lnTo>
                    <a:pt x="0" y="143"/>
                  </a:lnTo>
                  <a:lnTo>
                    <a:pt x="0" y="159"/>
                  </a:lnTo>
                  <a:lnTo>
                    <a:pt x="2" y="173"/>
                  </a:lnTo>
                  <a:lnTo>
                    <a:pt x="6" y="187"/>
                  </a:lnTo>
                  <a:lnTo>
                    <a:pt x="11" y="200"/>
                  </a:lnTo>
                  <a:lnTo>
                    <a:pt x="16" y="213"/>
                  </a:lnTo>
                  <a:lnTo>
                    <a:pt x="24" y="224"/>
                  </a:lnTo>
                  <a:lnTo>
                    <a:pt x="32" y="236"/>
                  </a:lnTo>
                  <a:lnTo>
                    <a:pt x="42" y="246"/>
                  </a:lnTo>
                  <a:lnTo>
                    <a:pt x="52" y="255"/>
                  </a:lnTo>
                  <a:lnTo>
                    <a:pt x="62" y="263"/>
                  </a:lnTo>
                  <a:lnTo>
                    <a:pt x="75" y="271"/>
                  </a:lnTo>
                  <a:lnTo>
                    <a:pt x="87" y="277"/>
                  </a:lnTo>
                  <a:lnTo>
                    <a:pt x="101" y="282"/>
                  </a:lnTo>
                  <a:lnTo>
                    <a:pt x="114" y="285"/>
                  </a:lnTo>
                  <a:lnTo>
                    <a:pt x="129" y="287"/>
                  </a:lnTo>
                  <a:lnTo>
                    <a:pt x="143" y="289"/>
                  </a:lnTo>
                  <a:lnTo>
                    <a:pt x="159" y="287"/>
                  </a:lnTo>
                  <a:lnTo>
                    <a:pt x="173" y="285"/>
                  </a:lnTo>
                  <a:lnTo>
                    <a:pt x="186" y="282"/>
                  </a:lnTo>
                  <a:lnTo>
                    <a:pt x="200" y="277"/>
                  </a:lnTo>
                  <a:lnTo>
                    <a:pt x="213" y="271"/>
                  </a:lnTo>
                  <a:lnTo>
                    <a:pt x="224" y="263"/>
                  </a:lnTo>
                  <a:lnTo>
                    <a:pt x="235" y="255"/>
                  </a:lnTo>
                  <a:lnTo>
                    <a:pt x="245" y="246"/>
                  </a:lnTo>
                  <a:lnTo>
                    <a:pt x="255" y="236"/>
                  </a:lnTo>
                  <a:lnTo>
                    <a:pt x="263" y="224"/>
                  </a:lnTo>
                  <a:lnTo>
                    <a:pt x="270" y="213"/>
                  </a:lnTo>
                  <a:lnTo>
                    <a:pt x="277" y="200"/>
                  </a:lnTo>
                  <a:lnTo>
                    <a:pt x="281" y="187"/>
                  </a:lnTo>
                  <a:lnTo>
                    <a:pt x="285" y="173"/>
                  </a:lnTo>
                  <a:lnTo>
                    <a:pt x="287" y="159"/>
                  </a:lnTo>
                  <a:lnTo>
                    <a:pt x="287" y="143"/>
                  </a:lnTo>
                  <a:lnTo>
                    <a:pt x="287" y="129"/>
                  </a:lnTo>
                  <a:lnTo>
                    <a:pt x="285" y="115"/>
                  </a:lnTo>
                  <a:lnTo>
                    <a:pt x="281" y="101"/>
                  </a:lnTo>
                  <a:lnTo>
                    <a:pt x="277" y="88"/>
                  </a:lnTo>
                  <a:lnTo>
                    <a:pt x="270" y="75"/>
                  </a:lnTo>
                  <a:lnTo>
                    <a:pt x="263" y="64"/>
                  </a:lnTo>
                  <a:lnTo>
                    <a:pt x="255" y="52"/>
                  </a:lnTo>
                  <a:lnTo>
                    <a:pt x="245" y="42"/>
                  </a:lnTo>
                  <a:lnTo>
                    <a:pt x="235" y="33"/>
                  </a:lnTo>
                  <a:lnTo>
                    <a:pt x="224" y="24"/>
                  </a:lnTo>
                  <a:lnTo>
                    <a:pt x="213" y="18"/>
                  </a:lnTo>
                  <a:lnTo>
                    <a:pt x="200" y="11"/>
                  </a:lnTo>
                  <a:lnTo>
                    <a:pt x="186" y="6"/>
                  </a:lnTo>
                  <a:lnTo>
                    <a:pt x="173" y="2"/>
                  </a:lnTo>
                  <a:lnTo>
                    <a:pt x="159" y="1"/>
                  </a:lnTo>
                  <a:lnTo>
                    <a:pt x="1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85CCA9F-C3F9-421D-B5BE-B8A3B9EFBAF5}"/>
              </a:ext>
            </a:extLst>
          </p:cNvPr>
          <p:cNvGrpSpPr/>
          <p:nvPr/>
        </p:nvGrpSpPr>
        <p:grpSpPr>
          <a:xfrm>
            <a:off x="10633400" y="2152379"/>
            <a:ext cx="377179" cy="293360"/>
            <a:chOff x="1474788" y="828675"/>
            <a:chExt cx="285750" cy="222251"/>
          </a:xfrm>
          <a:solidFill>
            <a:schemeClr val="accent1"/>
          </a:solidFill>
        </p:grpSpPr>
        <p:sp>
          <p:nvSpPr>
            <p:cNvPr id="61" name="Freeform 1682">
              <a:extLst>
                <a:ext uri="{FF2B5EF4-FFF2-40B4-BE49-F238E27FC236}">
                  <a16:creationId xmlns:a16="http://schemas.microsoft.com/office/drawing/2014/main" id="{379B1B10-4E3D-44F2-B133-F9759AFDD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288" y="912813"/>
              <a:ext cx="222250" cy="138113"/>
            </a:xfrm>
            <a:custGeom>
              <a:avLst/>
              <a:gdLst>
                <a:gd name="T0" fmla="*/ 482 w 559"/>
                <a:gd name="T1" fmla="*/ 11 h 348"/>
                <a:gd name="T2" fmla="*/ 474 w 559"/>
                <a:gd name="T3" fmla="*/ 3 h 348"/>
                <a:gd name="T4" fmla="*/ 464 w 559"/>
                <a:gd name="T5" fmla="*/ 0 h 348"/>
                <a:gd name="T6" fmla="*/ 452 w 559"/>
                <a:gd name="T7" fmla="*/ 2 h 348"/>
                <a:gd name="T8" fmla="*/ 443 w 559"/>
                <a:gd name="T9" fmla="*/ 7 h 348"/>
                <a:gd name="T10" fmla="*/ 344 w 559"/>
                <a:gd name="T11" fmla="*/ 128 h 348"/>
                <a:gd name="T12" fmla="*/ 342 w 559"/>
                <a:gd name="T13" fmla="*/ 136 h 348"/>
                <a:gd name="T14" fmla="*/ 342 w 559"/>
                <a:gd name="T15" fmla="*/ 145 h 348"/>
                <a:gd name="T16" fmla="*/ 346 w 559"/>
                <a:gd name="T17" fmla="*/ 154 h 348"/>
                <a:gd name="T18" fmla="*/ 354 w 559"/>
                <a:gd name="T19" fmla="*/ 160 h 348"/>
                <a:gd name="T20" fmla="*/ 363 w 559"/>
                <a:gd name="T21" fmla="*/ 163 h 348"/>
                <a:gd name="T22" fmla="*/ 371 w 559"/>
                <a:gd name="T23" fmla="*/ 162 h 348"/>
                <a:gd name="T24" fmla="*/ 380 w 559"/>
                <a:gd name="T25" fmla="*/ 157 h 348"/>
                <a:gd name="T26" fmla="*/ 440 w 559"/>
                <a:gd name="T27" fmla="*/ 87 h 348"/>
                <a:gd name="T28" fmla="*/ 434 w 559"/>
                <a:gd name="T29" fmla="*/ 122 h 348"/>
                <a:gd name="T30" fmla="*/ 422 w 559"/>
                <a:gd name="T31" fmla="*/ 156 h 348"/>
                <a:gd name="T32" fmla="*/ 406 w 559"/>
                <a:gd name="T33" fmla="*/ 188 h 348"/>
                <a:gd name="T34" fmla="*/ 384 w 559"/>
                <a:gd name="T35" fmla="*/ 217 h 348"/>
                <a:gd name="T36" fmla="*/ 357 w 559"/>
                <a:gd name="T37" fmla="*/ 244 h 348"/>
                <a:gd name="T38" fmla="*/ 327 w 559"/>
                <a:gd name="T39" fmla="*/ 266 h 348"/>
                <a:gd name="T40" fmla="*/ 294 w 559"/>
                <a:gd name="T41" fmla="*/ 283 h 348"/>
                <a:gd name="T42" fmla="*/ 259 w 559"/>
                <a:gd name="T43" fmla="*/ 294 h 348"/>
                <a:gd name="T44" fmla="*/ 229 w 559"/>
                <a:gd name="T45" fmla="*/ 300 h 348"/>
                <a:gd name="T46" fmla="*/ 199 w 559"/>
                <a:gd name="T47" fmla="*/ 301 h 348"/>
                <a:gd name="T48" fmla="*/ 170 w 559"/>
                <a:gd name="T49" fmla="*/ 299 h 348"/>
                <a:gd name="T50" fmla="*/ 142 w 559"/>
                <a:gd name="T51" fmla="*/ 293 h 348"/>
                <a:gd name="T52" fmla="*/ 114 w 559"/>
                <a:gd name="T53" fmla="*/ 283 h 348"/>
                <a:gd name="T54" fmla="*/ 89 w 559"/>
                <a:gd name="T55" fmla="*/ 270 h 348"/>
                <a:gd name="T56" fmla="*/ 64 w 559"/>
                <a:gd name="T57" fmla="*/ 254 h 348"/>
                <a:gd name="T58" fmla="*/ 41 w 559"/>
                <a:gd name="T59" fmla="*/ 234 h 348"/>
                <a:gd name="T60" fmla="*/ 33 w 559"/>
                <a:gd name="T61" fmla="*/ 229 h 348"/>
                <a:gd name="T62" fmla="*/ 25 w 559"/>
                <a:gd name="T63" fmla="*/ 227 h 348"/>
                <a:gd name="T64" fmla="*/ 16 w 559"/>
                <a:gd name="T65" fmla="*/ 229 h 348"/>
                <a:gd name="T66" fmla="*/ 7 w 559"/>
                <a:gd name="T67" fmla="*/ 234 h 348"/>
                <a:gd name="T68" fmla="*/ 3 w 559"/>
                <a:gd name="T69" fmla="*/ 241 h 348"/>
                <a:gd name="T70" fmla="*/ 0 w 559"/>
                <a:gd name="T71" fmla="*/ 251 h 348"/>
                <a:gd name="T72" fmla="*/ 3 w 559"/>
                <a:gd name="T73" fmla="*/ 260 h 348"/>
                <a:gd name="T74" fmla="*/ 8 w 559"/>
                <a:gd name="T75" fmla="*/ 269 h 348"/>
                <a:gd name="T76" fmla="*/ 28 w 559"/>
                <a:gd name="T77" fmla="*/ 287 h 348"/>
                <a:gd name="T78" fmla="*/ 51 w 559"/>
                <a:gd name="T79" fmla="*/ 303 h 348"/>
                <a:gd name="T80" fmla="*/ 74 w 559"/>
                <a:gd name="T81" fmla="*/ 318 h 348"/>
                <a:gd name="T82" fmla="*/ 99 w 559"/>
                <a:gd name="T83" fmla="*/ 329 h 348"/>
                <a:gd name="T84" fmla="*/ 124 w 559"/>
                <a:gd name="T85" fmla="*/ 337 h 348"/>
                <a:gd name="T86" fmla="*/ 151 w 559"/>
                <a:gd name="T87" fmla="*/ 344 h 348"/>
                <a:gd name="T88" fmla="*/ 177 w 559"/>
                <a:gd name="T89" fmla="*/ 347 h 348"/>
                <a:gd name="T90" fmla="*/ 205 w 559"/>
                <a:gd name="T91" fmla="*/ 348 h 348"/>
                <a:gd name="T92" fmla="*/ 237 w 559"/>
                <a:gd name="T93" fmla="*/ 347 h 348"/>
                <a:gd name="T94" fmla="*/ 270 w 559"/>
                <a:gd name="T95" fmla="*/ 342 h 348"/>
                <a:gd name="T96" fmla="*/ 311 w 559"/>
                <a:gd name="T97" fmla="*/ 329 h 348"/>
                <a:gd name="T98" fmla="*/ 348 w 559"/>
                <a:gd name="T99" fmla="*/ 310 h 348"/>
                <a:gd name="T100" fmla="*/ 382 w 559"/>
                <a:gd name="T101" fmla="*/ 286 h 348"/>
                <a:gd name="T102" fmla="*/ 413 w 559"/>
                <a:gd name="T103" fmla="*/ 257 h 348"/>
                <a:gd name="T104" fmla="*/ 439 w 559"/>
                <a:gd name="T105" fmla="*/ 224 h 348"/>
                <a:gd name="T106" fmla="*/ 460 w 559"/>
                <a:gd name="T107" fmla="*/ 188 h 348"/>
                <a:gd name="T108" fmla="*/ 475 w 559"/>
                <a:gd name="T109" fmla="*/ 150 h 348"/>
                <a:gd name="T110" fmla="*/ 485 w 559"/>
                <a:gd name="T111" fmla="*/ 110 h 348"/>
                <a:gd name="T112" fmla="*/ 518 w 559"/>
                <a:gd name="T113" fmla="*/ 163 h 348"/>
                <a:gd name="T114" fmla="*/ 529 w 559"/>
                <a:gd name="T115" fmla="*/ 168 h 348"/>
                <a:gd name="T116" fmla="*/ 541 w 559"/>
                <a:gd name="T117" fmla="*/ 168 h 348"/>
                <a:gd name="T118" fmla="*/ 551 w 559"/>
                <a:gd name="T119" fmla="*/ 164 h 348"/>
                <a:gd name="T120" fmla="*/ 557 w 559"/>
                <a:gd name="T121" fmla="*/ 156 h 348"/>
                <a:gd name="T122" fmla="*/ 559 w 559"/>
                <a:gd name="T123" fmla="*/ 147 h 348"/>
                <a:gd name="T124" fmla="*/ 558 w 559"/>
                <a:gd name="T125" fmla="*/ 13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9" h="348">
                  <a:moveTo>
                    <a:pt x="556" y="133"/>
                  </a:moveTo>
                  <a:lnTo>
                    <a:pt x="482" y="11"/>
                  </a:lnTo>
                  <a:lnTo>
                    <a:pt x="478" y="6"/>
                  </a:lnTo>
                  <a:lnTo>
                    <a:pt x="474" y="3"/>
                  </a:lnTo>
                  <a:lnTo>
                    <a:pt x="470" y="1"/>
                  </a:lnTo>
                  <a:lnTo>
                    <a:pt x="464" y="0"/>
                  </a:lnTo>
                  <a:lnTo>
                    <a:pt x="458" y="0"/>
                  </a:lnTo>
                  <a:lnTo>
                    <a:pt x="452" y="2"/>
                  </a:lnTo>
                  <a:lnTo>
                    <a:pt x="448" y="4"/>
                  </a:lnTo>
                  <a:lnTo>
                    <a:pt x="443" y="7"/>
                  </a:lnTo>
                  <a:lnTo>
                    <a:pt x="346" y="123"/>
                  </a:lnTo>
                  <a:lnTo>
                    <a:pt x="344" y="128"/>
                  </a:lnTo>
                  <a:lnTo>
                    <a:pt x="342" y="132"/>
                  </a:lnTo>
                  <a:lnTo>
                    <a:pt x="342" y="136"/>
                  </a:lnTo>
                  <a:lnTo>
                    <a:pt x="342" y="141"/>
                  </a:lnTo>
                  <a:lnTo>
                    <a:pt x="342" y="145"/>
                  </a:lnTo>
                  <a:lnTo>
                    <a:pt x="344" y="150"/>
                  </a:lnTo>
                  <a:lnTo>
                    <a:pt x="346" y="154"/>
                  </a:lnTo>
                  <a:lnTo>
                    <a:pt x="349" y="157"/>
                  </a:lnTo>
                  <a:lnTo>
                    <a:pt x="354" y="160"/>
                  </a:lnTo>
                  <a:lnTo>
                    <a:pt x="358" y="162"/>
                  </a:lnTo>
                  <a:lnTo>
                    <a:pt x="363" y="163"/>
                  </a:lnTo>
                  <a:lnTo>
                    <a:pt x="367" y="163"/>
                  </a:lnTo>
                  <a:lnTo>
                    <a:pt x="371" y="162"/>
                  </a:lnTo>
                  <a:lnTo>
                    <a:pt x="376" y="161"/>
                  </a:lnTo>
                  <a:lnTo>
                    <a:pt x="380" y="157"/>
                  </a:lnTo>
                  <a:lnTo>
                    <a:pt x="384" y="155"/>
                  </a:lnTo>
                  <a:lnTo>
                    <a:pt x="440" y="87"/>
                  </a:lnTo>
                  <a:lnTo>
                    <a:pt x="438" y="104"/>
                  </a:lnTo>
                  <a:lnTo>
                    <a:pt x="434" y="122"/>
                  </a:lnTo>
                  <a:lnTo>
                    <a:pt x="429" y="139"/>
                  </a:lnTo>
                  <a:lnTo>
                    <a:pt x="422" y="156"/>
                  </a:lnTo>
                  <a:lnTo>
                    <a:pt x="414" y="173"/>
                  </a:lnTo>
                  <a:lnTo>
                    <a:pt x="406" y="188"/>
                  </a:lnTo>
                  <a:lnTo>
                    <a:pt x="395" y="204"/>
                  </a:lnTo>
                  <a:lnTo>
                    <a:pt x="384" y="217"/>
                  </a:lnTo>
                  <a:lnTo>
                    <a:pt x="371" y="231"/>
                  </a:lnTo>
                  <a:lnTo>
                    <a:pt x="357" y="244"/>
                  </a:lnTo>
                  <a:lnTo>
                    <a:pt x="343" y="256"/>
                  </a:lnTo>
                  <a:lnTo>
                    <a:pt x="327" y="266"/>
                  </a:lnTo>
                  <a:lnTo>
                    <a:pt x="312" y="274"/>
                  </a:lnTo>
                  <a:lnTo>
                    <a:pt x="294" y="283"/>
                  </a:lnTo>
                  <a:lnTo>
                    <a:pt x="276" y="290"/>
                  </a:lnTo>
                  <a:lnTo>
                    <a:pt x="259" y="294"/>
                  </a:lnTo>
                  <a:lnTo>
                    <a:pt x="243" y="298"/>
                  </a:lnTo>
                  <a:lnTo>
                    <a:pt x="229" y="300"/>
                  </a:lnTo>
                  <a:lnTo>
                    <a:pt x="215" y="301"/>
                  </a:lnTo>
                  <a:lnTo>
                    <a:pt x="199" y="301"/>
                  </a:lnTo>
                  <a:lnTo>
                    <a:pt x="185" y="301"/>
                  </a:lnTo>
                  <a:lnTo>
                    <a:pt x="170" y="299"/>
                  </a:lnTo>
                  <a:lnTo>
                    <a:pt x="156" y="297"/>
                  </a:lnTo>
                  <a:lnTo>
                    <a:pt x="142" y="293"/>
                  </a:lnTo>
                  <a:lnTo>
                    <a:pt x="128" y="289"/>
                  </a:lnTo>
                  <a:lnTo>
                    <a:pt x="114" y="283"/>
                  </a:lnTo>
                  <a:lnTo>
                    <a:pt x="101" y="278"/>
                  </a:lnTo>
                  <a:lnTo>
                    <a:pt x="89" y="270"/>
                  </a:lnTo>
                  <a:lnTo>
                    <a:pt x="75" y="262"/>
                  </a:lnTo>
                  <a:lnTo>
                    <a:pt x="64" y="254"/>
                  </a:lnTo>
                  <a:lnTo>
                    <a:pt x="52" y="245"/>
                  </a:lnTo>
                  <a:lnTo>
                    <a:pt x="41" y="234"/>
                  </a:lnTo>
                  <a:lnTo>
                    <a:pt x="38" y="231"/>
                  </a:lnTo>
                  <a:lnTo>
                    <a:pt x="33" y="229"/>
                  </a:lnTo>
                  <a:lnTo>
                    <a:pt x="29" y="228"/>
                  </a:lnTo>
                  <a:lnTo>
                    <a:pt x="25" y="227"/>
                  </a:lnTo>
                  <a:lnTo>
                    <a:pt x="20" y="228"/>
                  </a:lnTo>
                  <a:lnTo>
                    <a:pt x="16" y="229"/>
                  </a:lnTo>
                  <a:lnTo>
                    <a:pt x="11" y="231"/>
                  </a:lnTo>
                  <a:lnTo>
                    <a:pt x="7" y="234"/>
                  </a:lnTo>
                  <a:lnTo>
                    <a:pt x="5" y="238"/>
                  </a:lnTo>
                  <a:lnTo>
                    <a:pt x="3" y="241"/>
                  </a:lnTo>
                  <a:lnTo>
                    <a:pt x="1" y="247"/>
                  </a:lnTo>
                  <a:lnTo>
                    <a:pt x="0" y="251"/>
                  </a:lnTo>
                  <a:lnTo>
                    <a:pt x="1" y="256"/>
                  </a:lnTo>
                  <a:lnTo>
                    <a:pt x="3" y="260"/>
                  </a:lnTo>
                  <a:lnTo>
                    <a:pt x="5" y="265"/>
                  </a:lnTo>
                  <a:lnTo>
                    <a:pt x="8" y="269"/>
                  </a:lnTo>
                  <a:lnTo>
                    <a:pt x="18" y="278"/>
                  </a:lnTo>
                  <a:lnTo>
                    <a:pt x="28" y="287"/>
                  </a:lnTo>
                  <a:lnTo>
                    <a:pt x="39" y="295"/>
                  </a:lnTo>
                  <a:lnTo>
                    <a:pt x="51" y="303"/>
                  </a:lnTo>
                  <a:lnTo>
                    <a:pt x="62" y="311"/>
                  </a:lnTo>
                  <a:lnTo>
                    <a:pt x="74" y="318"/>
                  </a:lnTo>
                  <a:lnTo>
                    <a:pt x="86" y="323"/>
                  </a:lnTo>
                  <a:lnTo>
                    <a:pt x="99" y="329"/>
                  </a:lnTo>
                  <a:lnTo>
                    <a:pt x="112" y="333"/>
                  </a:lnTo>
                  <a:lnTo>
                    <a:pt x="124" y="337"/>
                  </a:lnTo>
                  <a:lnTo>
                    <a:pt x="137" y="341"/>
                  </a:lnTo>
                  <a:lnTo>
                    <a:pt x="151" y="344"/>
                  </a:lnTo>
                  <a:lnTo>
                    <a:pt x="164" y="346"/>
                  </a:lnTo>
                  <a:lnTo>
                    <a:pt x="177" y="347"/>
                  </a:lnTo>
                  <a:lnTo>
                    <a:pt x="190" y="348"/>
                  </a:lnTo>
                  <a:lnTo>
                    <a:pt x="205" y="348"/>
                  </a:lnTo>
                  <a:lnTo>
                    <a:pt x="220" y="348"/>
                  </a:lnTo>
                  <a:lnTo>
                    <a:pt x="237" y="347"/>
                  </a:lnTo>
                  <a:lnTo>
                    <a:pt x="253" y="345"/>
                  </a:lnTo>
                  <a:lnTo>
                    <a:pt x="270" y="342"/>
                  </a:lnTo>
                  <a:lnTo>
                    <a:pt x="291" y="336"/>
                  </a:lnTo>
                  <a:lnTo>
                    <a:pt x="311" y="329"/>
                  </a:lnTo>
                  <a:lnTo>
                    <a:pt x="329" y="320"/>
                  </a:lnTo>
                  <a:lnTo>
                    <a:pt x="348" y="310"/>
                  </a:lnTo>
                  <a:lnTo>
                    <a:pt x="366" y="298"/>
                  </a:lnTo>
                  <a:lnTo>
                    <a:pt x="382" y="286"/>
                  </a:lnTo>
                  <a:lnTo>
                    <a:pt x="398" y="271"/>
                  </a:lnTo>
                  <a:lnTo>
                    <a:pt x="413" y="257"/>
                  </a:lnTo>
                  <a:lnTo>
                    <a:pt x="427" y="240"/>
                  </a:lnTo>
                  <a:lnTo>
                    <a:pt x="439" y="224"/>
                  </a:lnTo>
                  <a:lnTo>
                    <a:pt x="450" y="206"/>
                  </a:lnTo>
                  <a:lnTo>
                    <a:pt x="460" y="188"/>
                  </a:lnTo>
                  <a:lnTo>
                    <a:pt x="469" y="170"/>
                  </a:lnTo>
                  <a:lnTo>
                    <a:pt x="475" y="150"/>
                  </a:lnTo>
                  <a:lnTo>
                    <a:pt x="482" y="131"/>
                  </a:lnTo>
                  <a:lnTo>
                    <a:pt x="485" y="110"/>
                  </a:lnTo>
                  <a:lnTo>
                    <a:pt x="514" y="159"/>
                  </a:lnTo>
                  <a:lnTo>
                    <a:pt x="518" y="163"/>
                  </a:lnTo>
                  <a:lnTo>
                    <a:pt x="523" y="166"/>
                  </a:lnTo>
                  <a:lnTo>
                    <a:pt x="529" y="168"/>
                  </a:lnTo>
                  <a:lnTo>
                    <a:pt x="535" y="170"/>
                  </a:lnTo>
                  <a:lnTo>
                    <a:pt x="541" y="168"/>
                  </a:lnTo>
                  <a:lnTo>
                    <a:pt x="547" y="166"/>
                  </a:lnTo>
                  <a:lnTo>
                    <a:pt x="551" y="164"/>
                  </a:lnTo>
                  <a:lnTo>
                    <a:pt x="555" y="160"/>
                  </a:lnTo>
                  <a:lnTo>
                    <a:pt x="557" y="156"/>
                  </a:lnTo>
                  <a:lnTo>
                    <a:pt x="558" y="152"/>
                  </a:lnTo>
                  <a:lnTo>
                    <a:pt x="559" y="147"/>
                  </a:lnTo>
                  <a:lnTo>
                    <a:pt x="559" y="142"/>
                  </a:lnTo>
                  <a:lnTo>
                    <a:pt x="558" y="138"/>
                  </a:lnTo>
                  <a:lnTo>
                    <a:pt x="55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2" name="Freeform 1683">
              <a:extLst>
                <a:ext uri="{FF2B5EF4-FFF2-40B4-BE49-F238E27FC236}">
                  <a16:creationId xmlns:a16="http://schemas.microsoft.com/office/drawing/2014/main" id="{4E996A5C-21B3-4907-A822-E65AACA3B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788" y="828675"/>
              <a:ext cx="230188" cy="150813"/>
            </a:xfrm>
            <a:custGeom>
              <a:avLst/>
              <a:gdLst>
                <a:gd name="T0" fmla="*/ 212 w 581"/>
                <a:gd name="T1" fmla="*/ 217 h 379"/>
                <a:gd name="T2" fmla="*/ 198 w 581"/>
                <a:gd name="T3" fmla="*/ 217 h 379"/>
                <a:gd name="T4" fmla="*/ 187 w 581"/>
                <a:gd name="T5" fmla="*/ 226 h 379"/>
                <a:gd name="T6" fmla="*/ 124 w 581"/>
                <a:gd name="T7" fmla="*/ 267 h 379"/>
                <a:gd name="T8" fmla="*/ 135 w 581"/>
                <a:gd name="T9" fmla="*/ 216 h 379"/>
                <a:gd name="T10" fmla="*/ 157 w 581"/>
                <a:gd name="T11" fmla="*/ 167 h 379"/>
                <a:gd name="T12" fmla="*/ 178 w 581"/>
                <a:gd name="T13" fmla="*/ 138 h 379"/>
                <a:gd name="T14" fmla="*/ 203 w 581"/>
                <a:gd name="T15" fmla="*/ 110 h 379"/>
                <a:gd name="T16" fmla="*/ 233 w 581"/>
                <a:gd name="T17" fmla="*/ 88 h 379"/>
                <a:gd name="T18" fmla="*/ 265 w 581"/>
                <a:gd name="T19" fmla="*/ 70 h 379"/>
                <a:gd name="T20" fmla="*/ 299 w 581"/>
                <a:gd name="T21" fmla="*/ 57 h 379"/>
                <a:gd name="T22" fmla="*/ 343 w 581"/>
                <a:gd name="T23" fmla="*/ 49 h 379"/>
                <a:gd name="T24" fmla="*/ 390 w 581"/>
                <a:gd name="T25" fmla="*/ 49 h 379"/>
                <a:gd name="T26" fmla="*/ 435 w 581"/>
                <a:gd name="T27" fmla="*/ 58 h 379"/>
                <a:gd name="T28" fmla="*/ 478 w 581"/>
                <a:gd name="T29" fmla="*/ 77 h 379"/>
                <a:gd name="T30" fmla="*/ 517 w 581"/>
                <a:gd name="T31" fmla="*/ 103 h 379"/>
                <a:gd name="T32" fmla="*/ 542 w 581"/>
                <a:gd name="T33" fmla="*/ 130 h 379"/>
                <a:gd name="T34" fmla="*/ 556 w 581"/>
                <a:gd name="T35" fmla="*/ 134 h 379"/>
                <a:gd name="T36" fmla="*/ 569 w 581"/>
                <a:gd name="T37" fmla="*/ 131 h 379"/>
                <a:gd name="T38" fmla="*/ 579 w 581"/>
                <a:gd name="T39" fmla="*/ 121 h 379"/>
                <a:gd name="T40" fmla="*/ 581 w 581"/>
                <a:gd name="T41" fmla="*/ 108 h 379"/>
                <a:gd name="T42" fmla="*/ 576 w 581"/>
                <a:gd name="T43" fmla="*/ 94 h 379"/>
                <a:gd name="T44" fmla="*/ 532 w 581"/>
                <a:gd name="T45" fmla="*/ 56 h 379"/>
                <a:gd name="T46" fmla="*/ 485 w 581"/>
                <a:gd name="T47" fmla="*/ 27 h 379"/>
                <a:gd name="T48" fmla="*/ 432 w 581"/>
                <a:gd name="T49" fmla="*/ 8 h 379"/>
                <a:gd name="T50" fmla="*/ 376 w 581"/>
                <a:gd name="T51" fmla="*/ 0 h 379"/>
                <a:gd name="T52" fmla="*/ 319 w 581"/>
                <a:gd name="T53" fmla="*/ 4 h 379"/>
                <a:gd name="T54" fmla="*/ 272 w 581"/>
                <a:gd name="T55" fmla="*/ 16 h 379"/>
                <a:gd name="T56" fmla="*/ 232 w 581"/>
                <a:gd name="T57" fmla="*/ 34 h 379"/>
                <a:gd name="T58" fmla="*/ 195 w 581"/>
                <a:gd name="T59" fmla="*/ 57 h 379"/>
                <a:gd name="T60" fmla="*/ 161 w 581"/>
                <a:gd name="T61" fmla="*/ 86 h 379"/>
                <a:gd name="T62" fmla="*/ 132 w 581"/>
                <a:gd name="T63" fmla="*/ 119 h 379"/>
                <a:gd name="T64" fmla="*/ 107 w 581"/>
                <a:gd name="T65" fmla="*/ 159 h 379"/>
                <a:gd name="T66" fmla="*/ 89 w 581"/>
                <a:gd name="T67" fmla="*/ 203 h 379"/>
                <a:gd name="T68" fmla="*/ 78 w 581"/>
                <a:gd name="T69" fmla="*/ 249 h 379"/>
                <a:gd name="T70" fmla="*/ 41 w 581"/>
                <a:gd name="T71" fmla="*/ 214 h 379"/>
                <a:gd name="T72" fmla="*/ 29 w 581"/>
                <a:gd name="T73" fmla="*/ 207 h 379"/>
                <a:gd name="T74" fmla="*/ 15 w 581"/>
                <a:gd name="T75" fmla="*/ 208 h 379"/>
                <a:gd name="T76" fmla="*/ 4 w 581"/>
                <a:gd name="T77" fmla="*/ 218 h 379"/>
                <a:gd name="T78" fmla="*/ 0 w 581"/>
                <a:gd name="T79" fmla="*/ 231 h 379"/>
                <a:gd name="T80" fmla="*/ 5 w 581"/>
                <a:gd name="T81" fmla="*/ 245 h 379"/>
                <a:gd name="T82" fmla="*/ 96 w 581"/>
                <a:gd name="T83" fmla="*/ 377 h 379"/>
                <a:gd name="T84" fmla="*/ 107 w 581"/>
                <a:gd name="T85" fmla="*/ 379 h 379"/>
                <a:gd name="T86" fmla="*/ 118 w 581"/>
                <a:gd name="T87" fmla="*/ 378 h 379"/>
                <a:gd name="T88" fmla="*/ 223 w 581"/>
                <a:gd name="T89" fmla="*/ 256 h 379"/>
                <a:gd name="T90" fmla="*/ 229 w 581"/>
                <a:gd name="T91" fmla="*/ 242 h 379"/>
                <a:gd name="T92" fmla="*/ 227 w 581"/>
                <a:gd name="T93" fmla="*/ 22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1" h="379">
                  <a:moveTo>
                    <a:pt x="220" y="221"/>
                  </a:moveTo>
                  <a:lnTo>
                    <a:pt x="217" y="219"/>
                  </a:lnTo>
                  <a:lnTo>
                    <a:pt x="212" y="217"/>
                  </a:lnTo>
                  <a:lnTo>
                    <a:pt x="208" y="216"/>
                  </a:lnTo>
                  <a:lnTo>
                    <a:pt x="203" y="216"/>
                  </a:lnTo>
                  <a:lnTo>
                    <a:pt x="198" y="217"/>
                  </a:lnTo>
                  <a:lnTo>
                    <a:pt x="195" y="219"/>
                  </a:lnTo>
                  <a:lnTo>
                    <a:pt x="190" y="221"/>
                  </a:lnTo>
                  <a:lnTo>
                    <a:pt x="187" y="226"/>
                  </a:lnTo>
                  <a:lnTo>
                    <a:pt x="124" y="301"/>
                  </a:lnTo>
                  <a:lnTo>
                    <a:pt x="123" y="283"/>
                  </a:lnTo>
                  <a:lnTo>
                    <a:pt x="124" y="267"/>
                  </a:lnTo>
                  <a:lnTo>
                    <a:pt x="126" y="250"/>
                  </a:lnTo>
                  <a:lnTo>
                    <a:pt x="131" y="233"/>
                  </a:lnTo>
                  <a:lnTo>
                    <a:pt x="135" y="216"/>
                  </a:lnTo>
                  <a:lnTo>
                    <a:pt x="140" y="200"/>
                  </a:lnTo>
                  <a:lnTo>
                    <a:pt x="148" y="184"/>
                  </a:lnTo>
                  <a:lnTo>
                    <a:pt x="157" y="167"/>
                  </a:lnTo>
                  <a:lnTo>
                    <a:pt x="164" y="157"/>
                  </a:lnTo>
                  <a:lnTo>
                    <a:pt x="170" y="147"/>
                  </a:lnTo>
                  <a:lnTo>
                    <a:pt x="178" y="138"/>
                  </a:lnTo>
                  <a:lnTo>
                    <a:pt x="187" y="128"/>
                  </a:lnTo>
                  <a:lnTo>
                    <a:pt x="195" y="119"/>
                  </a:lnTo>
                  <a:lnTo>
                    <a:pt x="203" y="110"/>
                  </a:lnTo>
                  <a:lnTo>
                    <a:pt x="213" y="102"/>
                  </a:lnTo>
                  <a:lnTo>
                    <a:pt x="223" y="94"/>
                  </a:lnTo>
                  <a:lnTo>
                    <a:pt x="233" y="88"/>
                  </a:lnTo>
                  <a:lnTo>
                    <a:pt x="243" y="81"/>
                  </a:lnTo>
                  <a:lnTo>
                    <a:pt x="254" y="76"/>
                  </a:lnTo>
                  <a:lnTo>
                    <a:pt x="265" y="70"/>
                  </a:lnTo>
                  <a:lnTo>
                    <a:pt x="276" y="65"/>
                  </a:lnTo>
                  <a:lnTo>
                    <a:pt x="287" y="60"/>
                  </a:lnTo>
                  <a:lnTo>
                    <a:pt x="299" y="57"/>
                  </a:lnTo>
                  <a:lnTo>
                    <a:pt x="312" y="54"/>
                  </a:lnTo>
                  <a:lnTo>
                    <a:pt x="327" y="50"/>
                  </a:lnTo>
                  <a:lnTo>
                    <a:pt x="343" y="49"/>
                  </a:lnTo>
                  <a:lnTo>
                    <a:pt x="358" y="48"/>
                  </a:lnTo>
                  <a:lnTo>
                    <a:pt x="375" y="48"/>
                  </a:lnTo>
                  <a:lnTo>
                    <a:pt x="390" y="49"/>
                  </a:lnTo>
                  <a:lnTo>
                    <a:pt x="405" y="50"/>
                  </a:lnTo>
                  <a:lnTo>
                    <a:pt x="421" y="54"/>
                  </a:lnTo>
                  <a:lnTo>
                    <a:pt x="435" y="58"/>
                  </a:lnTo>
                  <a:lnTo>
                    <a:pt x="450" y="64"/>
                  </a:lnTo>
                  <a:lnTo>
                    <a:pt x="464" y="69"/>
                  </a:lnTo>
                  <a:lnTo>
                    <a:pt x="478" y="77"/>
                  </a:lnTo>
                  <a:lnTo>
                    <a:pt x="492" y="85"/>
                  </a:lnTo>
                  <a:lnTo>
                    <a:pt x="505" y="93"/>
                  </a:lnTo>
                  <a:lnTo>
                    <a:pt x="517" y="103"/>
                  </a:lnTo>
                  <a:lnTo>
                    <a:pt x="528" y="114"/>
                  </a:lnTo>
                  <a:lnTo>
                    <a:pt x="539" y="126"/>
                  </a:lnTo>
                  <a:lnTo>
                    <a:pt x="542" y="130"/>
                  </a:lnTo>
                  <a:lnTo>
                    <a:pt x="547" y="132"/>
                  </a:lnTo>
                  <a:lnTo>
                    <a:pt x="551" y="133"/>
                  </a:lnTo>
                  <a:lnTo>
                    <a:pt x="556" y="134"/>
                  </a:lnTo>
                  <a:lnTo>
                    <a:pt x="560" y="134"/>
                  </a:lnTo>
                  <a:lnTo>
                    <a:pt x="565" y="133"/>
                  </a:lnTo>
                  <a:lnTo>
                    <a:pt x="569" y="131"/>
                  </a:lnTo>
                  <a:lnTo>
                    <a:pt x="573" y="129"/>
                  </a:lnTo>
                  <a:lnTo>
                    <a:pt x="577" y="125"/>
                  </a:lnTo>
                  <a:lnTo>
                    <a:pt x="579" y="121"/>
                  </a:lnTo>
                  <a:lnTo>
                    <a:pt x="581" y="117"/>
                  </a:lnTo>
                  <a:lnTo>
                    <a:pt x="581" y="112"/>
                  </a:lnTo>
                  <a:lnTo>
                    <a:pt x="581" y="108"/>
                  </a:lnTo>
                  <a:lnTo>
                    <a:pt x="580" y="103"/>
                  </a:lnTo>
                  <a:lnTo>
                    <a:pt x="578" y="99"/>
                  </a:lnTo>
                  <a:lnTo>
                    <a:pt x="576" y="94"/>
                  </a:lnTo>
                  <a:lnTo>
                    <a:pt x="562" y="81"/>
                  </a:lnTo>
                  <a:lnTo>
                    <a:pt x="548" y="68"/>
                  </a:lnTo>
                  <a:lnTo>
                    <a:pt x="532" y="56"/>
                  </a:lnTo>
                  <a:lnTo>
                    <a:pt x="517" y="45"/>
                  </a:lnTo>
                  <a:lnTo>
                    <a:pt x="502" y="35"/>
                  </a:lnTo>
                  <a:lnTo>
                    <a:pt x="485" y="27"/>
                  </a:lnTo>
                  <a:lnTo>
                    <a:pt x="467" y="19"/>
                  </a:lnTo>
                  <a:lnTo>
                    <a:pt x="450" y="13"/>
                  </a:lnTo>
                  <a:lnTo>
                    <a:pt x="432" y="8"/>
                  </a:lnTo>
                  <a:lnTo>
                    <a:pt x="413" y="4"/>
                  </a:lnTo>
                  <a:lnTo>
                    <a:pt x="394" y="2"/>
                  </a:lnTo>
                  <a:lnTo>
                    <a:pt x="376" y="0"/>
                  </a:lnTo>
                  <a:lnTo>
                    <a:pt x="357" y="0"/>
                  </a:lnTo>
                  <a:lnTo>
                    <a:pt x="338" y="1"/>
                  </a:lnTo>
                  <a:lnTo>
                    <a:pt x="319" y="4"/>
                  </a:lnTo>
                  <a:lnTo>
                    <a:pt x="301" y="7"/>
                  </a:lnTo>
                  <a:lnTo>
                    <a:pt x="286" y="12"/>
                  </a:lnTo>
                  <a:lnTo>
                    <a:pt x="272" y="16"/>
                  </a:lnTo>
                  <a:lnTo>
                    <a:pt x="259" y="20"/>
                  </a:lnTo>
                  <a:lnTo>
                    <a:pt x="245" y="27"/>
                  </a:lnTo>
                  <a:lnTo>
                    <a:pt x="232" y="34"/>
                  </a:lnTo>
                  <a:lnTo>
                    <a:pt x="219" y="40"/>
                  </a:lnTo>
                  <a:lnTo>
                    <a:pt x="207" y="48"/>
                  </a:lnTo>
                  <a:lnTo>
                    <a:pt x="195" y="57"/>
                  </a:lnTo>
                  <a:lnTo>
                    <a:pt x="184" y="66"/>
                  </a:lnTo>
                  <a:lnTo>
                    <a:pt x="171" y="76"/>
                  </a:lnTo>
                  <a:lnTo>
                    <a:pt x="161" y="86"/>
                  </a:lnTo>
                  <a:lnTo>
                    <a:pt x="152" y="97"/>
                  </a:lnTo>
                  <a:lnTo>
                    <a:pt x="142" y="108"/>
                  </a:lnTo>
                  <a:lnTo>
                    <a:pt x="132" y="119"/>
                  </a:lnTo>
                  <a:lnTo>
                    <a:pt x="124" y="131"/>
                  </a:lnTo>
                  <a:lnTo>
                    <a:pt x="115" y="144"/>
                  </a:lnTo>
                  <a:lnTo>
                    <a:pt x="107" y="159"/>
                  </a:lnTo>
                  <a:lnTo>
                    <a:pt x="101" y="173"/>
                  </a:lnTo>
                  <a:lnTo>
                    <a:pt x="94" y="188"/>
                  </a:lnTo>
                  <a:lnTo>
                    <a:pt x="89" y="203"/>
                  </a:lnTo>
                  <a:lnTo>
                    <a:pt x="84" y="218"/>
                  </a:lnTo>
                  <a:lnTo>
                    <a:pt x="81" y="234"/>
                  </a:lnTo>
                  <a:lnTo>
                    <a:pt x="78" y="249"/>
                  </a:lnTo>
                  <a:lnTo>
                    <a:pt x="76" y="265"/>
                  </a:lnTo>
                  <a:lnTo>
                    <a:pt x="44" y="217"/>
                  </a:lnTo>
                  <a:lnTo>
                    <a:pt x="41" y="214"/>
                  </a:lnTo>
                  <a:lnTo>
                    <a:pt x="37" y="210"/>
                  </a:lnTo>
                  <a:lnTo>
                    <a:pt x="33" y="208"/>
                  </a:lnTo>
                  <a:lnTo>
                    <a:pt x="29" y="207"/>
                  </a:lnTo>
                  <a:lnTo>
                    <a:pt x="25" y="207"/>
                  </a:lnTo>
                  <a:lnTo>
                    <a:pt x="19" y="207"/>
                  </a:lnTo>
                  <a:lnTo>
                    <a:pt x="15" y="208"/>
                  </a:lnTo>
                  <a:lnTo>
                    <a:pt x="10" y="212"/>
                  </a:lnTo>
                  <a:lnTo>
                    <a:pt x="7" y="214"/>
                  </a:lnTo>
                  <a:lnTo>
                    <a:pt x="4" y="218"/>
                  </a:lnTo>
                  <a:lnTo>
                    <a:pt x="1" y="221"/>
                  </a:lnTo>
                  <a:lnTo>
                    <a:pt x="0" y="226"/>
                  </a:lnTo>
                  <a:lnTo>
                    <a:pt x="0" y="231"/>
                  </a:lnTo>
                  <a:lnTo>
                    <a:pt x="0" y="236"/>
                  </a:lnTo>
                  <a:lnTo>
                    <a:pt x="1" y="240"/>
                  </a:lnTo>
                  <a:lnTo>
                    <a:pt x="5" y="245"/>
                  </a:lnTo>
                  <a:lnTo>
                    <a:pt x="89" y="369"/>
                  </a:lnTo>
                  <a:lnTo>
                    <a:pt x="92" y="374"/>
                  </a:lnTo>
                  <a:lnTo>
                    <a:pt x="96" y="377"/>
                  </a:lnTo>
                  <a:lnTo>
                    <a:pt x="102" y="379"/>
                  </a:lnTo>
                  <a:lnTo>
                    <a:pt x="107" y="379"/>
                  </a:lnTo>
                  <a:lnTo>
                    <a:pt x="107" y="379"/>
                  </a:lnTo>
                  <a:lnTo>
                    <a:pt x="108" y="379"/>
                  </a:lnTo>
                  <a:lnTo>
                    <a:pt x="114" y="379"/>
                  </a:lnTo>
                  <a:lnTo>
                    <a:pt x="118" y="378"/>
                  </a:lnTo>
                  <a:lnTo>
                    <a:pt x="123" y="375"/>
                  </a:lnTo>
                  <a:lnTo>
                    <a:pt x="126" y="372"/>
                  </a:lnTo>
                  <a:lnTo>
                    <a:pt x="223" y="256"/>
                  </a:lnTo>
                  <a:lnTo>
                    <a:pt x="227" y="251"/>
                  </a:lnTo>
                  <a:lnTo>
                    <a:pt x="228" y="247"/>
                  </a:lnTo>
                  <a:lnTo>
                    <a:pt x="229" y="242"/>
                  </a:lnTo>
                  <a:lnTo>
                    <a:pt x="229" y="238"/>
                  </a:lnTo>
                  <a:lnTo>
                    <a:pt x="228" y="234"/>
                  </a:lnTo>
                  <a:lnTo>
                    <a:pt x="227" y="229"/>
                  </a:lnTo>
                  <a:lnTo>
                    <a:pt x="223" y="225"/>
                  </a:lnTo>
                  <a:lnTo>
                    <a:pt x="220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8" name="Freeform 1669">
            <a:extLst>
              <a:ext uri="{FF2B5EF4-FFF2-40B4-BE49-F238E27FC236}">
                <a16:creationId xmlns:a16="http://schemas.microsoft.com/office/drawing/2014/main" id="{AEBF21E1-C1FD-454C-9001-61A16BC7EE3D}"/>
              </a:ext>
            </a:extLst>
          </p:cNvPr>
          <p:cNvSpPr>
            <a:spLocks noEditPoints="1"/>
          </p:cNvSpPr>
          <p:nvPr/>
        </p:nvSpPr>
        <p:spPr bwMode="auto">
          <a:xfrm>
            <a:off x="9028811" y="5006975"/>
            <a:ext cx="377176" cy="377176"/>
          </a:xfrm>
          <a:custGeom>
            <a:avLst/>
            <a:gdLst>
              <a:gd name="T0" fmla="*/ 519 w 719"/>
              <a:gd name="T1" fmla="*/ 263 h 719"/>
              <a:gd name="T2" fmla="*/ 292 w 719"/>
              <a:gd name="T3" fmla="*/ 475 h 719"/>
              <a:gd name="T4" fmla="*/ 289 w 719"/>
              <a:gd name="T5" fmla="*/ 477 h 719"/>
              <a:gd name="T6" fmla="*/ 284 w 719"/>
              <a:gd name="T7" fmla="*/ 479 h 719"/>
              <a:gd name="T8" fmla="*/ 280 w 719"/>
              <a:gd name="T9" fmla="*/ 477 h 719"/>
              <a:gd name="T10" fmla="*/ 275 w 719"/>
              <a:gd name="T11" fmla="*/ 475 h 719"/>
              <a:gd name="T12" fmla="*/ 200 w 719"/>
              <a:gd name="T13" fmla="*/ 400 h 719"/>
              <a:gd name="T14" fmla="*/ 198 w 719"/>
              <a:gd name="T15" fmla="*/ 396 h 719"/>
              <a:gd name="T16" fmla="*/ 197 w 719"/>
              <a:gd name="T17" fmla="*/ 391 h 719"/>
              <a:gd name="T18" fmla="*/ 198 w 719"/>
              <a:gd name="T19" fmla="*/ 387 h 719"/>
              <a:gd name="T20" fmla="*/ 200 w 719"/>
              <a:gd name="T21" fmla="*/ 382 h 719"/>
              <a:gd name="T22" fmla="*/ 205 w 719"/>
              <a:gd name="T23" fmla="*/ 380 h 719"/>
              <a:gd name="T24" fmla="*/ 209 w 719"/>
              <a:gd name="T25" fmla="*/ 379 h 719"/>
              <a:gd name="T26" fmla="*/ 213 w 719"/>
              <a:gd name="T27" fmla="*/ 380 h 719"/>
              <a:gd name="T28" fmla="*/ 217 w 719"/>
              <a:gd name="T29" fmla="*/ 382 h 719"/>
              <a:gd name="T30" fmla="*/ 284 w 719"/>
              <a:gd name="T31" fmla="*/ 450 h 719"/>
              <a:gd name="T32" fmla="*/ 503 w 719"/>
              <a:gd name="T33" fmla="*/ 247 h 719"/>
              <a:gd name="T34" fmla="*/ 507 w 719"/>
              <a:gd name="T35" fmla="*/ 243 h 719"/>
              <a:gd name="T36" fmla="*/ 512 w 719"/>
              <a:gd name="T37" fmla="*/ 243 h 719"/>
              <a:gd name="T38" fmla="*/ 516 w 719"/>
              <a:gd name="T39" fmla="*/ 243 h 719"/>
              <a:gd name="T40" fmla="*/ 519 w 719"/>
              <a:gd name="T41" fmla="*/ 247 h 719"/>
              <a:gd name="T42" fmla="*/ 522 w 719"/>
              <a:gd name="T43" fmla="*/ 251 h 719"/>
              <a:gd name="T44" fmla="*/ 523 w 719"/>
              <a:gd name="T45" fmla="*/ 255 h 719"/>
              <a:gd name="T46" fmla="*/ 522 w 719"/>
              <a:gd name="T47" fmla="*/ 260 h 719"/>
              <a:gd name="T48" fmla="*/ 519 w 719"/>
              <a:gd name="T49" fmla="*/ 263 h 719"/>
              <a:gd name="T50" fmla="*/ 707 w 719"/>
              <a:gd name="T51" fmla="*/ 0 h 719"/>
              <a:gd name="T52" fmla="*/ 12 w 719"/>
              <a:gd name="T53" fmla="*/ 0 h 719"/>
              <a:gd name="T54" fmla="*/ 8 w 719"/>
              <a:gd name="T55" fmla="*/ 2 h 719"/>
              <a:gd name="T56" fmla="*/ 4 w 719"/>
              <a:gd name="T57" fmla="*/ 5 h 719"/>
              <a:gd name="T58" fmla="*/ 1 w 719"/>
              <a:gd name="T59" fmla="*/ 8 h 719"/>
              <a:gd name="T60" fmla="*/ 0 w 719"/>
              <a:gd name="T61" fmla="*/ 13 h 719"/>
              <a:gd name="T62" fmla="*/ 0 w 719"/>
              <a:gd name="T63" fmla="*/ 707 h 719"/>
              <a:gd name="T64" fmla="*/ 1 w 719"/>
              <a:gd name="T65" fmla="*/ 713 h 719"/>
              <a:gd name="T66" fmla="*/ 4 w 719"/>
              <a:gd name="T67" fmla="*/ 716 h 719"/>
              <a:gd name="T68" fmla="*/ 8 w 719"/>
              <a:gd name="T69" fmla="*/ 719 h 719"/>
              <a:gd name="T70" fmla="*/ 12 w 719"/>
              <a:gd name="T71" fmla="*/ 719 h 719"/>
              <a:gd name="T72" fmla="*/ 707 w 719"/>
              <a:gd name="T73" fmla="*/ 719 h 719"/>
              <a:gd name="T74" fmla="*/ 711 w 719"/>
              <a:gd name="T75" fmla="*/ 719 h 719"/>
              <a:gd name="T76" fmla="*/ 716 w 719"/>
              <a:gd name="T77" fmla="*/ 716 h 719"/>
              <a:gd name="T78" fmla="*/ 718 w 719"/>
              <a:gd name="T79" fmla="*/ 713 h 719"/>
              <a:gd name="T80" fmla="*/ 719 w 719"/>
              <a:gd name="T81" fmla="*/ 707 h 719"/>
              <a:gd name="T82" fmla="*/ 719 w 719"/>
              <a:gd name="T83" fmla="*/ 13 h 719"/>
              <a:gd name="T84" fmla="*/ 718 w 719"/>
              <a:gd name="T85" fmla="*/ 8 h 719"/>
              <a:gd name="T86" fmla="*/ 716 w 719"/>
              <a:gd name="T87" fmla="*/ 5 h 719"/>
              <a:gd name="T88" fmla="*/ 711 w 719"/>
              <a:gd name="T89" fmla="*/ 2 h 719"/>
              <a:gd name="T90" fmla="*/ 707 w 719"/>
              <a:gd name="T91" fmla="*/ 0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19" h="719">
                <a:moveTo>
                  <a:pt x="519" y="263"/>
                </a:moveTo>
                <a:lnTo>
                  <a:pt x="292" y="475"/>
                </a:lnTo>
                <a:lnTo>
                  <a:pt x="289" y="477"/>
                </a:lnTo>
                <a:lnTo>
                  <a:pt x="284" y="479"/>
                </a:lnTo>
                <a:lnTo>
                  <a:pt x="280" y="477"/>
                </a:lnTo>
                <a:lnTo>
                  <a:pt x="275" y="475"/>
                </a:lnTo>
                <a:lnTo>
                  <a:pt x="200" y="400"/>
                </a:lnTo>
                <a:lnTo>
                  <a:pt x="198" y="396"/>
                </a:lnTo>
                <a:lnTo>
                  <a:pt x="197" y="391"/>
                </a:lnTo>
                <a:lnTo>
                  <a:pt x="198" y="387"/>
                </a:lnTo>
                <a:lnTo>
                  <a:pt x="200" y="382"/>
                </a:lnTo>
                <a:lnTo>
                  <a:pt x="205" y="380"/>
                </a:lnTo>
                <a:lnTo>
                  <a:pt x="209" y="379"/>
                </a:lnTo>
                <a:lnTo>
                  <a:pt x="213" y="380"/>
                </a:lnTo>
                <a:lnTo>
                  <a:pt x="217" y="382"/>
                </a:lnTo>
                <a:lnTo>
                  <a:pt x="284" y="450"/>
                </a:lnTo>
                <a:lnTo>
                  <a:pt x="503" y="247"/>
                </a:lnTo>
                <a:lnTo>
                  <a:pt x="507" y="243"/>
                </a:lnTo>
                <a:lnTo>
                  <a:pt x="512" y="243"/>
                </a:lnTo>
                <a:lnTo>
                  <a:pt x="516" y="243"/>
                </a:lnTo>
                <a:lnTo>
                  <a:pt x="519" y="247"/>
                </a:lnTo>
                <a:lnTo>
                  <a:pt x="522" y="251"/>
                </a:lnTo>
                <a:lnTo>
                  <a:pt x="523" y="255"/>
                </a:lnTo>
                <a:lnTo>
                  <a:pt x="522" y="260"/>
                </a:lnTo>
                <a:lnTo>
                  <a:pt x="519" y="263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4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4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C117339-8A3F-4EE1-9D93-E585D2A37D17}"/>
              </a:ext>
            </a:extLst>
          </p:cNvPr>
          <p:cNvGrpSpPr/>
          <p:nvPr/>
        </p:nvGrpSpPr>
        <p:grpSpPr>
          <a:xfrm>
            <a:off x="5842893" y="5022692"/>
            <a:ext cx="375083" cy="345745"/>
            <a:chOff x="4313201" y="1920875"/>
            <a:chExt cx="284163" cy="261938"/>
          </a:xfrm>
          <a:solidFill>
            <a:schemeClr val="accent1"/>
          </a:solidFill>
        </p:grpSpPr>
        <p:sp>
          <p:nvSpPr>
            <p:cNvPr id="59" name="Freeform 3131">
              <a:extLst>
                <a:ext uri="{FF2B5EF4-FFF2-40B4-BE49-F238E27FC236}">
                  <a16:creationId xmlns:a16="http://schemas.microsoft.com/office/drawing/2014/main" id="{FB771899-B7FE-4921-9A74-C6D71F071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60" name="Freeform 3132">
              <a:extLst>
                <a:ext uri="{FF2B5EF4-FFF2-40B4-BE49-F238E27FC236}">
                  <a16:creationId xmlns:a16="http://schemas.microsoft.com/office/drawing/2014/main" id="{72FDE97C-537A-4B18-B6BE-95F2C0D3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D83AD8B-8993-4DD3-B718-75FD73B9460A}"/>
              </a:ext>
            </a:extLst>
          </p:cNvPr>
          <p:cNvGrpSpPr/>
          <p:nvPr/>
        </p:nvGrpSpPr>
        <p:grpSpPr>
          <a:xfrm>
            <a:off x="2636055" y="5006975"/>
            <a:ext cx="379272" cy="377176"/>
            <a:chOff x="4900613" y="3937000"/>
            <a:chExt cx="287338" cy="285750"/>
          </a:xfrm>
          <a:solidFill>
            <a:schemeClr val="accent1"/>
          </a:solidFill>
        </p:grpSpPr>
        <p:sp>
          <p:nvSpPr>
            <p:cNvPr id="51" name="Freeform 4743">
              <a:extLst>
                <a:ext uri="{FF2B5EF4-FFF2-40B4-BE49-F238E27FC236}">
                  <a16:creationId xmlns:a16="http://schemas.microsoft.com/office/drawing/2014/main" id="{0C10FC2C-8850-4AED-893D-75FCAE559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3937000"/>
              <a:ext cx="133350" cy="38100"/>
            </a:xfrm>
            <a:custGeom>
              <a:avLst/>
              <a:gdLst>
                <a:gd name="T0" fmla="*/ 346 w 421"/>
                <a:gd name="T1" fmla="*/ 0 h 120"/>
                <a:gd name="T2" fmla="*/ 76 w 421"/>
                <a:gd name="T3" fmla="*/ 0 h 120"/>
                <a:gd name="T4" fmla="*/ 68 w 421"/>
                <a:gd name="T5" fmla="*/ 1 h 120"/>
                <a:gd name="T6" fmla="*/ 61 w 421"/>
                <a:gd name="T7" fmla="*/ 2 h 120"/>
                <a:gd name="T8" fmla="*/ 53 w 421"/>
                <a:gd name="T9" fmla="*/ 3 h 120"/>
                <a:gd name="T10" fmla="*/ 46 w 421"/>
                <a:gd name="T11" fmla="*/ 5 h 120"/>
                <a:gd name="T12" fmla="*/ 40 w 421"/>
                <a:gd name="T13" fmla="*/ 9 h 120"/>
                <a:gd name="T14" fmla="*/ 33 w 421"/>
                <a:gd name="T15" fmla="*/ 12 h 120"/>
                <a:gd name="T16" fmla="*/ 27 w 421"/>
                <a:gd name="T17" fmla="*/ 17 h 120"/>
                <a:gd name="T18" fmla="*/ 22 w 421"/>
                <a:gd name="T19" fmla="*/ 22 h 120"/>
                <a:gd name="T20" fmla="*/ 18 w 421"/>
                <a:gd name="T21" fmla="*/ 27 h 120"/>
                <a:gd name="T22" fmla="*/ 13 w 421"/>
                <a:gd name="T23" fmla="*/ 33 h 120"/>
                <a:gd name="T24" fmla="*/ 10 w 421"/>
                <a:gd name="T25" fmla="*/ 39 h 120"/>
                <a:gd name="T26" fmla="*/ 6 w 421"/>
                <a:gd name="T27" fmla="*/ 46 h 120"/>
                <a:gd name="T28" fmla="*/ 4 w 421"/>
                <a:gd name="T29" fmla="*/ 53 h 120"/>
                <a:gd name="T30" fmla="*/ 2 w 421"/>
                <a:gd name="T31" fmla="*/ 60 h 120"/>
                <a:gd name="T32" fmla="*/ 0 w 421"/>
                <a:gd name="T33" fmla="*/ 67 h 120"/>
                <a:gd name="T34" fmla="*/ 0 w 421"/>
                <a:gd name="T35" fmla="*/ 75 h 120"/>
                <a:gd name="T36" fmla="*/ 0 w 421"/>
                <a:gd name="T37" fmla="*/ 120 h 120"/>
                <a:gd name="T38" fmla="*/ 421 w 421"/>
                <a:gd name="T39" fmla="*/ 120 h 120"/>
                <a:gd name="T40" fmla="*/ 421 w 421"/>
                <a:gd name="T41" fmla="*/ 75 h 120"/>
                <a:gd name="T42" fmla="*/ 421 w 421"/>
                <a:gd name="T43" fmla="*/ 67 h 120"/>
                <a:gd name="T44" fmla="*/ 420 w 421"/>
                <a:gd name="T45" fmla="*/ 60 h 120"/>
                <a:gd name="T46" fmla="*/ 417 w 421"/>
                <a:gd name="T47" fmla="*/ 53 h 120"/>
                <a:gd name="T48" fmla="*/ 415 w 421"/>
                <a:gd name="T49" fmla="*/ 46 h 120"/>
                <a:gd name="T50" fmla="*/ 412 w 421"/>
                <a:gd name="T51" fmla="*/ 39 h 120"/>
                <a:gd name="T52" fmla="*/ 408 w 421"/>
                <a:gd name="T53" fmla="*/ 33 h 120"/>
                <a:gd name="T54" fmla="*/ 403 w 421"/>
                <a:gd name="T55" fmla="*/ 27 h 120"/>
                <a:gd name="T56" fmla="*/ 399 w 421"/>
                <a:gd name="T57" fmla="*/ 22 h 120"/>
                <a:gd name="T58" fmla="*/ 393 w 421"/>
                <a:gd name="T59" fmla="*/ 17 h 120"/>
                <a:gd name="T60" fmla="*/ 387 w 421"/>
                <a:gd name="T61" fmla="*/ 12 h 120"/>
                <a:gd name="T62" fmla="*/ 381 w 421"/>
                <a:gd name="T63" fmla="*/ 9 h 120"/>
                <a:gd name="T64" fmla="*/ 375 w 421"/>
                <a:gd name="T65" fmla="*/ 5 h 120"/>
                <a:gd name="T66" fmla="*/ 368 w 421"/>
                <a:gd name="T67" fmla="*/ 3 h 120"/>
                <a:gd name="T68" fmla="*/ 361 w 421"/>
                <a:gd name="T69" fmla="*/ 2 h 120"/>
                <a:gd name="T70" fmla="*/ 354 w 421"/>
                <a:gd name="T71" fmla="*/ 1 h 120"/>
                <a:gd name="T72" fmla="*/ 346 w 421"/>
                <a:gd name="T73" fmla="*/ 0 h 120"/>
                <a:gd name="T74" fmla="*/ 346 w 421"/>
                <a:gd name="T7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1" h="120">
                  <a:moveTo>
                    <a:pt x="346" y="0"/>
                  </a:moveTo>
                  <a:lnTo>
                    <a:pt x="76" y="0"/>
                  </a:lnTo>
                  <a:lnTo>
                    <a:pt x="68" y="1"/>
                  </a:lnTo>
                  <a:lnTo>
                    <a:pt x="61" y="2"/>
                  </a:lnTo>
                  <a:lnTo>
                    <a:pt x="53" y="3"/>
                  </a:lnTo>
                  <a:lnTo>
                    <a:pt x="46" y="5"/>
                  </a:lnTo>
                  <a:lnTo>
                    <a:pt x="40" y="9"/>
                  </a:lnTo>
                  <a:lnTo>
                    <a:pt x="33" y="12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8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120"/>
                  </a:lnTo>
                  <a:lnTo>
                    <a:pt x="421" y="120"/>
                  </a:lnTo>
                  <a:lnTo>
                    <a:pt x="421" y="75"/>
                  </a:lnTo>
                  <a:lnTo>
                    <a:pt x="421" y="67"/>
                  </a:lnTo>
                  <a:lnTo>
                    <a:pt x="420" y="60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2" y="39"/>
                  </a:lnTo>
                  <a:lnTo>
                    <a:pt x="408" y="33"/>
                  </a:lnTo>
                  <a:lnTo>
                    <a:pt x="403" y="27"/>
                  </a:lnTo>
                  <a:lnTo>
                    <a:pt x="399" y="22"/>
                  </a:lnTo>
                  <a:lnTo>
                    <a:pt x="393" y="17"/>
                  </a:lnTo>
                  <a:lnTo>
                    <a:pt x="387" y="12"/>
                  </a:lnTo>
                  <a:lnTo>
                    <a:pt x="381" y="9"/>
                  </a:lnTo>
                  <a:lnTo>
                    <a:pt x="375" y="5"/>
                  </a:lnTo>
                  <a:lnTo>
                    <a:pt x="368" y="3"/>
                  </a:lnTo>
                  <a:lnTo>
                    <a:pt x="361" y="2"/>
                  </a:lnTo>
                  <a:lnTo>
                    <a:pt x="354" y="1"/>
                  </a:lnTo>
                  <a:lnTo>
                    <a:pt x="346" y="0"/>
                  </a:ln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2" name="Freeform 4744">
              <a:extLst>
                <a:ext uri="{FF2B5EF4-FFF2-40B4-BE49-F238E27FC236}">
                  <a16:creationId xmlns:a16="http://schemas.microsoft.com/office/drawing/2014/main" id="{2943447E-9503-4211-9710-41280EBF7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3984625"/>
              <a:ext cx="133350" cy="85725"/>
            </a:xfrm>
            <a:custGeom>
              <a:avLst/>
              <a:gdLst>
                <a:gd name="T0" fmla="*/ 0 w 421"/>
                <a:gd name="T1" fmla="*/ 196 h 270"/>
                <a:gd name="T2" fmla="*/ 0 w 421"/>
                <a:gd name="T3" fmla="*/ 203 h 270"/>
                <a:gd name="T4" fmla="*/ 2 w 421"/>
                <a:gd name="T5" fmla="*/ 211 h 270"/>
                <a:gd name="T6" fmla="*/ 4 w 421"/>
                <a:gd name="T7" fmla="*/ 218 h 270"/>
                <a:gd name="T8" fmla="*/ 6 w 421"/>
                <a:gd name="T9" fmla="*/ 225 h 270"/>
                <a:gd name="T10" fmla="*/ 10 w 421"/>
                <a:gd name="T11" fmla="*/ 231 h 270"/>
                <a:gd name="T12" fmla="*/ 13 w 421"/>
                <a:gd name="T13" fmla="*/ 238 h 270"/>
                <a:gd name="T14" fmla="*/ 18 w 421"/>
                <a:gd name="T15" fmla="*/ 243 h 270"/>
                <a:gd name="T16" fmla="*/ 22 w 421"/>
                <a:gd name="T17" fmla="*/ 248 h 270"/>
                <a:gd name="T18" fmla="*/ 27 w 421"/>
                <a:gd name="T19" fmla="*/ 254 h 270"/>
                <a:gd name="T20" fmla="*/ 33 w 421"/>
                <a:gd name="T21" fmla="*/ 257 h 270"/>
                <a:gd name="T22" fmla="*/ 40 w 421"/>
                <a:gd name="T23" fmla="*/ 262 h 270"/>
                <a:gd name="T24" fmla="*/ 46 w 421"/>
                <a:gd name="T25" fmla="*/ 264 h 270"/>
                <a:gd name="T26" fmla="*/ 53 w 421"/>
                <a:gd name="T27" fmla="*/ 267 h 270"/>
                <a:gd name="T28" fmla="*/ 61 w 421"/>
                <a:gd name="T29" fmla="*/ 269 h 270"/>
                <a:gd name="T30" fmla="*/ 68 w 421"/>
                <a:gd name="T31" fmla="*/ 270 h 270"/>
                <a:gd name="T32" fmla="*/ 76 w 421"/>
                <a:gd name="T33" fmla="*/ 270 h 270"/>
                <a:gd name="T34" fmla="*/ 346 w 421"/>
                <a:gd name="T35" fmla="*/ 270 h 270"/>
                <a:gd name="T36" fmla="*/ 354 w 421"/>
                <a:gd name="T37" fmla="*/ 270 h 270"/>
                <a:gd name="T38" fmla="*/ 361 w 421"/>
                <a:gd name="T39" fmla="*/ 269 h 270"/>
                <a:gd name="T40" fmla="*/ 368 w 421"/>
                <a:gd name="T41" fmla="*/ 267 h 270"/>
                <a:gd name="T42" fmla="*/ 375 w 421"/>
                <a:gd name="T43" fmla="*/ 264 h 270"/>
                <a:gd name="T44" fmla="*/ 381 w 421"/>
                <a:gd name="T45" fmla="*/ 261 h 270"/>
                <a:gd name="T46" fmla="*/ 387 w 421"/>
                <a:gd name="T47" fmla="*/ 257 h 270"/>
                <a:gd name="T48" fmla="*/ 393 w 421"/>
                <a:gd name="T49" fmla="*/ 253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8 h 270"/>
                <a:gd name="T56" fmla="*/ 412 w 421"/>
                <a:gd name="T57" fmla="*/ 231 h 270"/>
                <a:gd name="T58" fmla="*/ 415 w 421"/>
                <a:gd name="T59" fmla="*/ 225 h 270"/>
                <a:gd name="T60" fmla="*/ 417 w 421"/>
                <a:gd name="T61" fmla="*/ 218 h 270"/>
                <a:gd name="T62" fmla="*/ 420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6"/>
                  </a:moveTo>
                  <a:lnTo>
                    <a:pt x="0" y="203"/>
                  </a:lnTo>
                  <a:lnTo>
                    <a:pt x="2" y="211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10" y="231"/>
                  </a:lnTo>
                  <a:lnTo>
                    <a:pt x="13" y="238"/>
                  </a:lnTo>
                  <a:lnTo>
                    <a:pt x="18" y="243"/>
                  </a:lnTo>
                  <a:lnTo>
                    <a:pt x="22" y="248"/>
                  </a:lnTo>
                  <a:lnTo>
                    <a:pt x="27" y="254"/>
                  </a:lnTo>
                  <a:lnTo>
                    <a:pt x="33" y="257"/>
                  </a:lnTo>
                  <a:lnTo>
                    <a:pt x="40" y="262"/>
                  </a:lnTo>
                  <a:lnTo>
                    <a:pt x="46" y="264"/>
                  </a:lnTo>
                  <a:lnTo>
                    <a:pt x="53" y="267"/>
                  </a:lnTo>
                  <a:lnTo>
                    <a:pt x="61" y="269"/>
                  </a:lnTo>
                  <a:lnTo>
                    <a:pt x="68" y="270"/>
                  </a:lnTo>
                  <a:lnTo>
                    <a:pt x="76" y="270"/>
                  </a:lnTo>
                  <a:lnTo>
                    <a:pt x="346" y="270"/>
                  </a:lnTo>
                  <a:lnTo>
                    <a:pt x="354" y="270"/>
                  </a:lnTo>
                  <a:lnTo>
                    <a:pt x="361" y="269"/>
                  </a:lnTo>
                  <a:lnTo>
                    <a:pt x="368" y="267"/>
                  </a:lnTo>
                  <a:lnTo>
                    <a:pt x="375" y="264"/>
                  </a:lnTo>
                  <a:lnTo>
                    <a:pt x="381" y="261"/>
                  </a:lnTo>
                  <a:lnTo>
                    <a:pt x="387" y="257"/>
                  </a:lnTo>
                  <a:lnTo>
                    <a:pt x="393" y="253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8"/>
                  </a:lnTo>
                  <a:lnTo>
                    <a:pt x="412" y="231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20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3" name="Freeform 4745">
              <a:extLst>
                <a:ext uri="{FF2B5EF4-FFF2-40B4-BE49-F238E27FC236}">
                  <a16:creationId xmlns:a16="http://schemas.microsoft.com/office/drawing/2014/main" id="{458C1C97-B5D5-41A5-A642-F670D9629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3937000"/>
              <a:ext cx="134938" cy="38100"/>
            </a:xfrm>
            <a:custGeom>
              <a:avLst/>
              <a:gdLst>
                <a:gd name="T0" fmla="*/ 345 w 421"/>
                <a:gd name="T1" fmla="*/ 0 h 120"/>
                <a:gd name="T2" fmla="*/ 75 w 421"/>
                <a:gd name="T3" fmla="*/ 0 h 120"/>
                <a:gd name="T4" fmla="*/ 67 w 421"/>
                <a:gd name="T5" fmla="*/ 1 h 120"/>
                <a:gd name="T6" fmla="*/ 60 w 421"/>
                <a:gd name="T7" fmla="*/ 2 h 120"/>
                <a:gd name="T8" fmla="*/ 52 w 421"/>
                <a:gd name="T9" fmla="*/ 3 h 120"/>
                <a:gd name="T10" fmla="*/ 45 w 421"/>
                <a:gd name="T11" fmla="*/ 5 h 120"/>
                <a:gd name="T12" fmla="*/ 39 w 421"/>
                <a:gd name="T13" fmla="*/ 9 h 120"/>
                <a:gd name="T14" fmla="*/ 33 w 421"/>
                <a:gd name="T15" fmla="*/ 12 h 120"/>
                <a:gd name="T16" fmla="*/ 27 w 421"/>
                <a:gd name="T17" fmla="*/ 17 h 120"/>
                <a:gd name="T18" fmla="*/ 22 w 421"/>
                <a:gd name="T19" fmla="*/ 22 h 120"/>
                <a:gd name="T20" fmla="*/ 17 w 421"/>
                <a:gd name="T21" fmla="*/ 27 h 120"/>
                <a:gd name="T22" fmla="*/ 13 w 421"/>
                <a:gd name="T23" fmla="*/ 33 h 120"/>
                <a:gd name="T24" fmla="*/ 9 w 421"/>
                <a:gd name="T25" fmla="*/ 39 h 120"/>
                <a:gd name="T26" fmla="*/ 6 w 421"/>
                <a:gd name="T27" fmla="*/ 46 h 120"/>
                <a:gd name="T28" fmla="*/ 4 w 421"/>
                <a:gd name="T29" fmla="*/ 53 h 120"/>
                <a:gd name="T30" fmla="*/ 1 w 421"/>
                <a:gd name="T31" fmla="*/ 60 h 120"/>
                <a:gd name="T32" fmla="*/ 0 w 421"/>
                <a:gd name="T33" fmla="*/ 67 h 120"/>
                <a:gd name="T34" fmla="*/ 0 w 421"/>
                <a:gd name="T35" fmla="*/ 75 h 120"/>
                <a:gd name="T36" fmla="*/ 0 w 421"/>
                <a:gd name="T37" fmla="*/ 120 h 120"/>
                <a:gd name="T38" fmla="*/ 421 w 421"/>
                <a:gd name="T39" fmla="*/ 120 h 120"/>
                <a:gd name="T40" fmla="*/ 421 w 421"/>
                <a:gd name="T41" fmla="*/ 75 h 120"/>
                <a:gd name="T42" fmla="*/ 421 w 421"/>
                <a:gd name="T43" fmla="*/ 67 h 120"/>
                <a:gd name="T44" fmla="*/ 419 w 421"/>
                <a:gd name="T45" fmla="*/ 60 h 120"/>
                <a:gd name="T46" fmla="*/ 417 w 421"/>
                <a:gd name="T47" fmla="*/ 53 h 120"/>
                <a:gd name="T48" fmla="*/ 415 w 421"/>
                <a:gd name="T49" fmla="*/ 46 h 120"/>
                <a:gd name="T50" fmla="*/ 411 w 421"/>
                <a:gd name="T51" fmla="*/ 39 h 120"/>
                <a:gd name="T52" fmla="*/ 408 w 421"/>
                <a:gd name="T53" fmla="*/ 33 h 120"/>
                <a:gd name="T54" fmla="*/ 403 w 421"/>
                <a:gd name="T55" fmla="*/ 27 h 120"/>
                <a:gd name="T56" fmla="*/ 399 w 421"/>
                <a:gd name="T57" fmla="*/ 22 h 120"/>
                <a:gd name="T58" fmla="*/ 393 w 421"/>
                <a:gd name="T59" fmla="*/ 17 h 120"/>
                <a:gd name="T60" fmla="*/ 387 w 421"/>
                <a:gd name="T61" fmla="*/ 12 h 120"/>
                <a:gd name="T62" fmla="*/ 381 w 421"/>
                <a:gd name="T63" fmla="*/ 9 h 120"/>
                <a:gd name="T64" fmla="*/ 374 w 421"/>
                <a:gd name="T65" fmla="*/ 5 h 120"/>
                <a:gd name="T66" fmla="*/ 367 w 421"/>
                <a:gd name="T67" fmla="*/ 3 h 120"/>
                <a:gd name="T68" fmla="*/ 360 w 421"/>
                <a:gd name="T69" fmla="*/ 2 h 120"/>
                <a:gd name="T70" fmla="*/ 353 w 421"/>
                <a:gd name="T71" fmla="*/ 1 h 120"/>
                <a:gd name="T72" fmla="*/ 345 w 421"/>
                <a:gd name="T73" fmla="*/ 0 h 120"/>
                <a:gd name="T74" fmla="*/ 345 w 421"/>
                <a:gd name="T75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1" h="120">
                  <a:moveTo>
                    <a:pt x="345" y="0"/>
                  </a:move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3"/>
                  </a:lnTo>
                  <a:lnTo>
                    <a:pt x="45" y="5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1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120"/>
                  </a:lnTo>
                  <a:lnTo>
                    <a:pt x="421" y="120"/>
                  </a:lnTo>
                  <a:lnTo>
                    <a:pt x="421" y="75"/>
                  </a:lnTo>
                  <a:lnTo>
                    <a:pt x="421" y="67"/>
                  </a:lnTo>
                  <a:lnTo>
                    <a:pt x="419" y="60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1" y="39"/>
                  </a:lnTo>
                  <a:lnTo>
                    <a:pt x="408" y="33"/>
                  </a:lnTo>
                  <a:lnTo>
                    <a:pt x="403" y="27"/>
                  </a:lnTo>
                  <a:lnTo>
                    <a:pt x="399" y="22"/>
                  </a:lnTo>
                  <a:lnTo>
                    <a:pt x="393" y="17"/>
                  </a:lnTo>
                  <a:lnTo>
                    <a:pt x="387" y="12"/>
                  </a:lnTo>
                  <a:lnTo>
                    <a:pt x="381" y="9"/>
                  </a:lnTo>
                  <a:lnTo>
                    <a:pt x="374" y="5"/>
                  </a:lnTo>
                  <a:lnTo>
                    <a:pt x="367" y="3"/>
                  </a:lnTo>
                  <a:lnTo>
                    <a:pt x="360" y="2"/>
                  </a:lnTo>
                  <a:lnTo>
                    <a:pt x="353" y="1"/>
                  </a:lnTo>
                  <a:lnTo>
                    <a:pt x="345" y="0"/>
                  </a:lnTo>
                  <a:lnTo>
                    <a:pt x="3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4" name="Freeform 4746">
              <a:extLst>
                <a:ext uri="{FF2B5EF4-FFF2-40B4-BE49-F238E27FC236}">
                  <a16:creationId xmlns:a16="http://schemas.microsoft.com/office/drawing/2014/main" id="{171D8EBE-E9A2-4459-9C65-282A30804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3984625"/>
              <a:ext cx="134938" cy="85725"/>
            </a:xfrm>
            <a:custGeom>
              <a:avLst/>
              <a:gdLst>
                <a:gd name="T0" fmla="*/ 0 w 421"/>
                <a:gd name="T1" fmla="*/ 196 h 270"/>
                <a:gd name="T2" fmla="*/ 0 w 421"/>
                <a:gd name="T3" fmla="*/ 203 h 270"/>
                <a:gd name="T4" fmla="*/ 1 w 421"/>
                <a:gd name="T5" fmla="*/ 211 h 270"/>
                <a:gd name="T6" fmla="*/ 4 w 421"/>
                <a:gd name="T7" fmla="*/ 218 h 270"/>
                <a:gd name="T8" fmla="*/ 6 w 421"/>
                <a:gd name="T9" fmla="*/ 225 h 270"/>
                <a:gd name="T10" fmla="*/ 9 w 421"/>
                <a:gd name="T11" fmla="*/ 231 h 270"/>
                <a:gd name="T12" fmla="*/ 13 w 421"/>
                <a:gd name="T13" fmla="*/ 238 h 270"/>
                <a:gd name="T14" fmla="*/ 17 w 421"/>
                <a:gd name="T15" fmla="*/ 243 h 270"/>
                <a:gd name="T16" fmla="*/ 22 w 421"/>
                <a:gd name="T17" fmla="*/ 248 h 270"/>
                <a:gd name="T18" fmla="*/ 27 w 421"/>
                <a:gd name="T19" fmla="*/ 254 h 270"/>
                <a:gd name="T20" fmla="*/ 33 w 421"/>
                <a:gd name="T21" fmla="*/ 257 h 270"/>
                <a:gd name="T22" fmla="*/ 39 w 421"/>
                <a:gd name="T23" fmla="*/ 262 h 270"/>
                <a:gd name="T24" fmla="*/ 45 w 421"/>
                <a:gd name="T25" fmla="*/ 264 h 270"/>
                <a:gd name="T26" fmla="*/ 52 w 421"/>
                <a:gd name="T27" fmla="*/ 267 h 270"/>
                <a:gd name="T28" fmla="*/ 60 w 421"/>
                <a:gd name="T29" fmla="*/ 269 h 270"/>
                <a:gd name="T30" fmla="*/ 67 w 421"/>
                <a:gd name="T31" fmla="*/ 270 h 270"/>
                <a:gd name="T32" fmla="*/ 75 w 421"/>
                <a:gd name="T33" fmla="*/ 270 h 270"/>
                <a:gd name="T34" fmla="*/ 345 w 421"/>
                <a:gd name="T35" fmla="*/ 270 h 270"/>
                <a:gd name="T36" fmla="*/ 353 w 421"/>
                <a:gd name="T37" fmla="*/ 270 h 270"/>
                <a:gd name="T38" fmla="*/ 360 w 421"/>
                <a:gd name="T39" fmla="*/ 269 h 270"/>
                <a:gd name="T40" fmla="*/ 367 w 421"/>
                <a:gd name="T41" fmla="*/ 267 h 270"/>
                <a:gd name="T42" fmla="*/ 374 w 421"/>
                <a:gd name="T43" fmla="*/ 264 h 270"/>
                <a:gd name="T44" fmla="*/ 381 w 421"/>
                <a:gd name="T45" fmla="*/ 261 h 270"/>
                <a:gd name="T46" fmla="*/ 387 w 421"/>
                <a:gd name="T47" fmla="*/ 257 h 270"/>
                <a:gd name="T48" fmla="*/ 393 w 421"/>
                <a:gd name="T49" fmla="*/ 253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8 h 270"/>
                <a:gd name="T56" fmla="*/ 411 w 421"/>
                <a:gd name="T57" fmla="*/ 231 h 270"/>
                <a:gd name="T58" fmla="*/ 415 w 421"/>
                <a:gd name="T59" fmla="*/ 225 h 270"/>
                <a:gd name="T60" fmla="*/ 417 w 421"/>
                <a:gd name="T61" fmla="*/ 218 h 270"/>
                <a:gd name="T62" fmla="*/ 419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6"/>
                  </a:moveTo>
                  <a:lnTo>
                    <a:pt x="0" y="203"/>
                  </a:lnTo>
                  <a:lnTo>
                    <a:pt x="1" y="211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9" y="231"/>
                  </a:lnTo>
                  <a:lnTo>
                    <a:pt x="13" y="238"/>
                  </a:lnTo>
                  <a:lnTo>
                    <a:pt x="17" y="243"/>
                  </a:lnTo>
                  <a:lnTo>
                    <a:pt x="22" y="248"/>
                  </a:lnTo>
                  <a:lnTo>
                    <a:pt x="27" y="254"/>
                  </a:lnTo>
                  <a:lnTo>
                    <a:pt x="33" y="257"/>
                  </a:lnTo>
                  <a:lnTo>
                    <a:pt x="39" y="262"/>
                  </a:lnTo>
                  <a:lnTo>
                    <a:pt x="45" y="264"/>
                  </a:lnTo>
                  <a:lnTo>
                    <a:pt x="52" y="267"/>
                  </a:lnTo>
                  <a:lnTo>
                    <a:pt x="60" y="269"/>
                  </a:lnTo>
                  <a:lnTo>
                    <a:pt x="67" y="270"/>
                  </a:lnTo>
                  <a:lnTo>
                    <a:pt x="75" y="270"/>
                  </a:lnTo>
                  <a:lnTo>
                    <a:pt x="345" y="270"/>
                  </a:lnTo>
                  <a:lnTo>
                    <a:pt x="353" y="270"/>
                  </a:lnTo>
                  <a:lnTo>
                    <a:pt x="360" y="269"/>
                  </a:lnTo>
                  <a:lnTo>
                    <a:pt x="367" y="267"/>
                  </a:lnTo>
                  <a:lnTo>
                    <a:pt x="374" y="264"/>
                  </a:lnTo>
                  <a:lnTo>
                    <a:pt x="381" y="261"/>
                  </a:lnTo>
                  <a:lnTo>
                    <a:pt x="387" y="257"/>
                  </a:lnTo>
                  <a:lnTo>
                    <a:pt x="393" y="253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8"/>
                  </a:lnTo>
                  <a:lnTo>
                    <a:pt x="411" y="231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19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5" name="Freeform 4747">
              <a:extLst>
                <a:ext uri="{FF2B5EF4-FFF2-40B4-BE49-F238E27FC236}">
                  <a16:creationId xmlns:a16="http://schemas.microsoft.com/office/drawing/2014/main" id="{F758515F-16FE-4797-8759-F22F8BD65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4137025"/>
              <a:ext cx="133350" cy="85725"/>
            </a:xfrm>
            <a:custGeom>
              <a:avLst/>
              <a:gdLst>
                <a:gd name="T0" fmla="*/ 0 w 421"/>
                <a:gd name="T1" fmla="*/ 194 h 270"/>
                <a:gd name="T2" fmla="*/ 0 w 421"/>
                <a:gd name="T3" fmla="*/ 203 h 270"/>
                <a:gd name="T4" fmla="*/ 2 w 421"/>
                <a:gd name="T5" fmla="*/ 209 h 270"/>
                <a:gd name="T6" fmla="*/ 4 w 421"/>
                <a:gd name="T7" fmla="*/ 218 h 270"/>
                <a:gd name="T8" fmla="*/ 6 w 421"/>
                <a:gd name="T9" fmla="*/ 225 h 270"/>
                <a:gd name="T10" fmla="*/ 10 w 421"/>
                <a:gd name="T11" fmla="*/ 230 h 270"/>
                <a:gd name="T12" fmla="*/ 13 w 421"/>
                <a:gd name="T13" fmla="*/ 237 h 270"/>
                <a:gd name="T14" fmla="*/ 18 w 421"/>
                <a:gd name="T15" fmla="*/ 243 h 270"/>
                <a:gd name="T16" fmla="*/ 22 w 421"/>
                <a:gd name="T17" fmla="*/ 248 h 270"/>
                <a:gd name="T18" fmla="*/ 27 w 421"/>
                <a:gd name="T19" fmla="*/ 252 h 270"/>
                <a:gd name="T20" fmla="*/ 33 w 421"/>
                <a:gd name="T21" fmla="*/ 257 h 270"/>
                <a:gd name="T22" fmla="*/ 40 w 421"/>
                <a:gd name="T23" fmla="*/ 262 h 270"/>
                <a:gd name="T24" fmla="*/ 46 w 421"/>
                <a:gd name="T25" fmla="*/ 264 h 270"/>
                <a:gd name="T26" fmla="*/ 53 w 421"/>
                <a:gd name="T27" fmla="*/ 266 h 270"/>
                <a:gd name="T28" fmla="*/ 61 w 421"/>
                <a:gd name="T29" fmla="*/ 269 h 270"/>
                <a:gd name="T30" fmla="*/ 68 w 421"/>
                <a:gd name="T31" fmla="*/ 270 h 270"/>
                <a:gd name="T32" fmla="*/ 76 w 421"/>
                <a:gd name="T33" fmla="*/ 270 h 270"/>
                <a:gd name="T34" fmla="*/ 346 w 421"/>
                <a:gd name="T35" fmla="*/ 270 h 270"/>
                <a:gd name="T36" fmla="*/ 354 w 421"/>
                <a:gd name="T37" fmla="*/ 270 h 270"/>
                <a:gd name="T38" fmla="*/ 361 w 421"/>
                <a:gd name="T39" fmla="*/ 269 h 270"/>
                <a:gd name="T40" fmla="*/ 368 w 421"/>
                <a:gd name="T41" fmla="*/ 266 h 270"/>
                <a:gd name="T42" fmla="*/ 375 w 421"/>
                <a:gd name="T43" fmla="*/ 264 h 270"/>
                <a:gd name="T44" fmla="*/ 381 w 421"/>
                <a:gd name="T45" fmla="*/ 260 h 270"/>
                <a:gd name="T46" fmla="*/ 387 w 421"/>
                <a:gd name="T47" fmla="*/ 257 h 270"/>
                <a:gd name="T48" fmla="*/ 393 w 421"/>
                <a:gd name="T49" fmla="*/ 252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7 h 270"/>
                <a:gd name="T56" fmla="*/ 412 w 421"/>
                <a:gd name="T57" fmla="*/ 230 h 270"/>
                <a:gd name="T58" fmla="*/ 415 w 421"/>
                <a:gd name="T59" fmla="*/ 225 h 270"/>
                <a:gd name="T60" fmla="*/ 417 w 421"/>
                <a:gd name="T61" fmla="*/ 218 h 270"/>
                <a:gd name="T62" fmla="*/ 420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4"/>
                  </a:moveTo>
                  <a:lnTo>
                    <a:pt x="0" y="203"/>
                  </a:lnTo>
                  <a:lnTo>
                    <a:pt x="2" y="209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10" y="230"/>
                  </a:lnTo>
                  <a:lnTo>
                    <a:pt x="13" y="237"/>
                  </a:lnTo>
                  <a:lnTo>
                    <a:pt x="18" y="243"/>
                  </a:lnTo>
                  <a:lnTo>
                    <a:pt x="22" y="248"/>
                  </a:lnTo>
                  <a:lnTo>
                    <a:pt x="27" y="252"/>
                  </a:lnTo>
                  <a:lnTo>
                    <a:pt x="33" y="257"/>
                  </a:lnTo>
                  <a:lnTo>
                    <a:pt x="40" y="262"/>
                  </a:lnTo>
                  <a:lnTo>
                    <a:pt x="46" y="264"/>
                  </a:lnTo>
                  <a:lnTo>
                    <a:pt x="53" y="266"/>
                  </a:lnTo>
                  <a:lnTo>
                    <a:pt x="61" y="269"/>
                  </a:lnTo>
                  <a:lnTo>
                    <a:pt x="68" y="270"/>
                  </a:lnTo>
                  <a:lnTo>
                    <a:pt x="76" y="270"/>
                  </a:lnTo>
                  <a:lnTo>
                    <a:pt x="346" y="270"/>
                  </a:lnTo>
                  <a:lnTo>
                    <a:pt x="354" y="270"/>
                  </a:lnTo>
                  <a:lnTo>
                    <a:pt x="361" y="269"/>
                  </a:lnTo>
                  <a:lnTo>
                    <a:pt x="368" y="266"/>
                  </a:lnTo>
                  <a:lnTo>
                    <a:pt x="375" y="264"/>
                  </a:lnTo>
                  <a:lnTo>
                    <a:pt x="381" y="260"/>
                  </a:lnTo>
                  <a:lnTo>
                    <a:pt x="387" y="257"/>
                  </a:lnTo>
                  <a:lnTo>
                    <a:pt x="393" y="252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7"/>
                  </a:lnTo>
                  <a:lnTo>
                    <a:pt x="412" y="230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20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6" name="Freeform 4748">
              <a:extLst>
                <a:ext uri="{FF2B5EF4-FFF2-40B4-BE49-F238E27FC236}">
                  <a16:creationId xmlns:a16="http://schemas.microsoft.com/office/drawing/2014/main" id="{AA9389B3-8264-4B54-B49F-656C9DF21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4089400"/>
              <a:ext cx="133350" cy="38100"/>
            </a:xfrm>
            <a:custGeom>
              <a:avLst/>
              <a:gdLst>
                <a:gd name="T0" fmla="*/ 346 w 421"/>
                <a:gd name="T1" fmla="*/ 0 h 121"/>
                <a:gd name="T2" fmla="*/ 76 w 421"/>
                <a:gd name="T3" fmla="*/ 0 h 121"/>
                <a:gd name="T4" fmla="*/ 68 w 421"/>
                <a:gd name="T5" fmla="*/ 1 h 121"/>
                <a:gd name="T6" fmla="*/ 61 w 421"/>
                <a:gd name="T7" fmla="*/ 3 h 121"/>
                <a:gd name="T8" fmla="*/ 53 w 421"/>
                <a:gd name="T9" fmla="*/ 4 h 121"/>
                <a:gd name="T10" fmla="*/ 46 w 421"/>
                <a:gd name="T11" fmla="*/ 6 h 121"/>
                <a:gd name="T12" fmla="*/ 40 w 421"/>
                <a:gd name="T13" fmla="*/ 10 h 121"/>
                <a:gd name="T14" fmla="*/ 33 w 421"/>
                <a:gd name="T15" fmla="*/ 13 h 121"/>
                <a:gd name="T16" fmla="*/ 27 w 421"/>
                <a:gd name="T17" fmla="*/ 18 h 121"/>
                <a:gd name="T18" fmla="*/ 22 w 421"/>
                <a:gd name="T19" fmla="*/ 22 h 121"/>
                <a:gd name="T20" fmla="*/ 18 w 421"/>
                <a:gd name="T21" fmla="*/ 28 h 121"/>
                <a:gd name="T22" fmla="*/ 13 w 421"/>
                <a:gd name="T23" fmla="*/ 34 h 121"/>
                <a:gd name="T24" fmla="*/ 10 w 421"/>
                <a:gd name="T25" fmla="*/ 40 h 121"/>
                <a:gd name="T26" fmla="*/ 6 w 421"/>
                <a:gd name="T27" fmla="*/ 47 h 121"/>
                <a:gd name="T28" fmla="*/ 4 w 421"/>
                <a:gd name="T29" fmla="*/ 54 h 121"/>
                <a:gd name="T30" fmla="*/ 2 w 421"/>
                <a:gd name="T31" fmla="*/ 61 h 121"/>
                <a:gd name="T32" fmla="*/ 0 w 421"/>
                <a:gd name="T33" fmla="*/ 67 h 121"/>
                <a:gd name="T34" fmla="*/ 0 w 421"/>
                <a:gd name="T35" fmla="*/ 76 h 121"/>
                <a:gd name="T36" fmla="*/ 0 w 421"/>
                <a:gd name="T37" fmla="*/ 121 h 121"/>
                <a:gd name="T38" fmla="*/ 421 w 421"/>
                <a:gd name="T39" fmla="*/ 121 h 121"/>
                <a:gd name="T40" fmla="*/ 421 w 421"/>
                <a:gd name="T41" fmla="*/ 76 h 121"/>
                <a:gd name="T42" fmla="*/ 421 w 421"/>
                <a:gd name="T43" fmla="*/ 67 h 121"/>
                <a:gd name="T44" fmla="*/ 420 w 421"/>
                <a:gd name="T45" fmla="*/ 61 h 121"/>
                <a:gd name="T46" fmla="*/ 417 w 421"/>
                <a:gd name="T47" fmla="*/ 54 h 121"/>
                <a:gd name="T48" fmla="*/ 415 w 421"/>
                <a:gd name="T49" fmla="*/ 47 h 121"/>
                <a:gd name="T50" fmla="*/ 412 w 421"/>
                <a:gd name="T51" fmla="*/ 40 h 121"/>
                <a:gd name="T52" fmla="*/ 408 w 421"/>
                <a:gd name="T53" fmla="*/ 34 h 121"/>
                <a:gd name="T54" fmla="*/ 403 w 421"/>
                <a:gd name="T55" fmla="*/ 28 h 121"/>
                <a:gd name="T56" fmla="*/ 399 w 421"/>
                <a:gd name="T57" fmla="*/ 22 h 121"/>
                <a:gd name="T58" fmla="*/ 393 w 421"/>
                <a:gd name="T59" fmla="*/ 18 h 121"/>
                <a:gd name="T60" fmla="*/ 387 w 421"/>
                <a:gd name="T61" fmla="*/ 13 h 121"/>
                <a:gd name="T62" fmla="*/ 381 w 421"/>
                <a:gd name="T63" fmla="*/ 10 h 121"/>
                <a:gd name="T64" fmla="*/ 375 w 421"/>
                <a:gd name="T65" fmla="*/ 6 h 121"/>
                <a:gd name="T66" fmla="*/ 368 w 421"/>
                <a:gd name="T67" fmla="*/ 4 h 121"/>
                <a:gd name="T68" fmla="*/ 361 w 421"/>
                <a:gd name="T69" fmla="*/ 3 h 121"/>
                <a:gd name="T70" fmla="*/ 354 w 421"/>
                <a:gd name="T71" fmla="*/ 1 h 121"/>
                <a:gd name="T72" fmla="*/ 346 w 421"/>
                <a:gd name="T7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121">
                  <a:moveTo>
                    <a:pt x="346" y="0"/>
                  </a:moveTo>
                  <a:lnTo>
                    <a:pt x="76" y="0"/>
                  </a:lnTo>
                  <a:lnTo>
                    <a:pt x="68" y="1"/>
                  </a:lnTo>
                  <a:lnTo>
                    <a:pt x="61" y="3"/>
                  </a:lnTo>
                  <a:lnTo>
                    <a:pt x="53" y="4"/>
                  </a:lnTo>
                  <a:lnTo>
                    <a:pt x="46" y="6"/>
                  </a:lnTo>
                  <a:lnTo>
                    <a:pt x="40" y="10"/>
                  </a:lnTo>
                  <a:lnTo>
                    <a:pt x="33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10" y="40"/>
                  </a:lnTo>
                  <a:lnTo>
                    <a:pt x="6" y="47"/>
                  </a:lnTo>
                  <a:lnTo>
                    <a:pt x="4" y="54"/>
                  </a:lnTo>
                  <a:lnTo>
                    <a:pt x="2" y="61"/>
                  </a:lnTo>
                  <a:lnTo>
                    <a:pt x="0" y="67"/>
                  </a:lnTo>
                  <a:lnTo>
                    <a:pt x="0" y="76"/>
                  </a:lnTo>
                  <a:lnTo>
                    <a:pt x="0" y="121"/>
                  </a:lnTo>
                  <a:lnTo>
                    <a:pt x="421" y="121"/>
                  </a:lnTo>
                  <a:lnTo>
                    <a:pt x="421" y="76"/>
                  </a:lnTo>
                  <a:lnTo>
                    <a:pt x="421" y="67"/>
                  </a:lnTo>
                  <a:lnTo>
                    <a:pt x="420" y="61"/>
                  </a:lnTo>
                  <a:lnTo>
                    <a:pt x="417" y="54"/>
                  </a:lnTo>
                  <a:lnTo>
                    <a:pt x="415" y="47"/>
                  </a:lnTo>
                  <a:lnTo>
                    <a:pt x="412" y="40"/>
                  </a:lnTo>
                  <a:lnTo>
                    <a:pt x="408" y="34"/>
                  </a:lnTo>
                  <a:lnTo>
                    <a:pt x="403" y="28"/>
                  </a:lnTo>
                  <a:lnTo>
                    <a:pt x="399" y="22"/>
                  </a:lnTo>
                  <a:lnTo>
                    <a:pt x="393" y="18"/>
                  </a:lnTo>
                  <a:lnTo>
                    <a:pt x="387" y="13"/>
                  </a:lnTo>
                  <a:lnTo>
                    <a:pt x="381" y="10"/>
                  </a:lnTo>
                  <a:lnTo>
                    <a:pt x="375" y="6"/>
                  </a:lnTo>
                  <a:lnTo>
                    <a:pt x="368" y="4"/>
                  </a:lnTo>
                  <a:lnTo>
                    <a:pt x="361" y="3"/>
                  </a:lnTo>
                  <a:lnTo>
                    <a:pt x="354" y="1"/>
                  </a:ln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7" name="Freeform 4749">
              <a:extLst>
                <a:ext uri="{FF2B5EF4-FFF2-40B4-BE49-F238E27FC236}">
                  <a16:creationId xmlns:a16="http://schemas.microsoft.com/office/drawing/2014/main" id="{201F7A12-BAD4-41B3-A709-6E87F6ED5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4137025"/>
              <a:ext cx="134938" cy="85725"/>
            </a:xfrm>
            <a:custGeom>
              <a:avLst/>
              <a:gdLst>
                <a:gd name="T0" fmla="*/ 0 w 421"/>
                <a:gd name="T1" fmla="*/ 194 h 270"/>
                <a:gd name="T2" fmla="*/ 0 w 421"/>
                <a:gd name="T3" fmla="*/ 203 h 270"/>
                <a:gd name="T4" fmla="*/ 1 w 421"/>
                <a:gd name="T5" fmla="*/ 209 h 270"/>
                <a:gd name="T6" fmla="*/ 4 w 421"/>
                <a:gd name="T7" fmla="*/ 218 h 270"/>
                <a:gd name="T8" fmla="*/ 6 w 421"/>
                <a:gd name="T9" fmla="*/ 225 h 270"/>
                <a:gd name="T10" fmla="*/ 9 w 421"/>
                <a:gd name="T11" fmla="*/ 230 h 270"/>
                <a:gd name="T12" fmla="*/ 13 w 421"/>
                <a:gd name="T13" fmla="*/ 237 h 270"/>
                <a:gd name="T14" fmla="*/ 17 w 421"/>
                <a:gd name="T15" fmla="*/ 243 h 270"/>
                <a:gd name="T16" fmla="*/ 22 w 421"/>
                <a:gd name="T17" fmla="*/ 248 h 270"/>
                <a:gd name="T18" fmla="*/ 27 w 421"/>
                <a:gd name="T19" fmla="*/ 252 h 270"/>
                <a:gd name="T20" fmla="*/ 33 w 421"/>
                <a:gd name="T21" fmla="*/ 257 h 270"/>
                <a:gd name="T22" fmla="*/ 39 w 421"/>
                <a:gd name="T23" fmla="*/ 262 h 270"/>
                <a:gd name="T24" fmla="*/ 45 w 421"/>
                <a:gd name="T25" fmla="*/ 264 h 270"/>
                <a:gd name="T26" fmla="*/ 52 w 421"/>
                <a:gd name="T27" fmla="*/ 266 h 270"/>
                <a:gd name="T28" fmla="*/ 60 w 421"/>
                <a:gd name="T29" fmla="*/ 269 h 270"/>
                <a:gd name="T30" fmla="*/ 67 w 421"/>
                <a:gd name="T31" fmla="*/ 270 h 270"/>
                <a:gd name="T32" fmla="*/ 75 w 421"/>
                <a:gd name="T33" fmla="*/ 270 h 270"/>
                <a:gd name="T34" fmla="*/ 345 w 421"/>
                <a:gd name="T35" fmla="*/ 270 h 270"/>
                <a:gd name="T36" fmla="*/ 353 w 421"/>
                <a:gd name="T37" fmla="*/ 270 h 270"/>
                <a:gd name="T38" fmla="*/ 360 w 421"/>
                <a:gd name="T39" fmla="*/ 269 h 270"/>
                <a:gd name="T40" fmla="*/ 367 w 421"/>
                <a:gd name="T41" fmla="*/ 266 h 270"/>
                <a:gd name="T42" fmla="*/ 374 w 421"/>
                <a:gd name="T43" fmla="*/ 264 h 270"/>
                <a:gd name="T44" fmla="*/ 381 w 421"/>
                <a:gd name="T45" fmla="*/ 260 h 270"/>
                <a:gd name="T46" fmla="*/ 387 w 421"/>
                <a:gd name="T47" fmla="*/ 257 h 270"/>
                <a:gd name="T48" fmla="*/ 393 w 421"/>
                <a:gd name="T49" fmla="*/ 252 h 270"/>
                <a:gd name="T50" fmla="*/ 399 w 421"/>
                <a:gd name="T51" fmla="*/ 248 h 270"/>
                <a:gd name="T52" fmla="*/ 403 w 421"/>
                <a:gd name="T53" fmla="*/ 243 h 270"/>
                <a:gd name="T54" fmla="*/ 408 w 421"/>
                <a:gd name="T55" fmla="*/ 237 h 270"/>
                <a:gd name="T56" fmla="*/ 411 w 421"/>
                <a:gd name="T57" fmla="*/ 230 h 270"/>
                <a:gd name="T58" fmla="*/ 415 w 421"/>
                <a:gd name="T59" fmla="*/ 225 h 270"/>
                <a:gd name="T60" fmla="*/ 417 w 421"/>
                <a:gd name="T61" fmla="*/ 218 h 270"/>
                <a:gd name="T62" fmla="*/ 419 w 421"/>
                <a:gd name="T63" fmla="*/ 211 h 270"/>
                <a:gd name="T64" fmla="*/ 421 w 421"/>
                <a:gd name="T65" fmla="*/ 203 h 270"/>
                <a:gd name="T66" fmla="*/ 421 w 421"/>
                <a:gd name="T67" fmla="*/ 196 h 270"/>
                <a:gd name="T68" fmla="*/ 421 w 421"/>
                <a:gd name="T69" fmla="*/ 0 h 270"/>
                <a:gd name="T70" fmla="*/ 0 w 421"/>
                <a:gd name="T71" fmla="*/ 0 h 270"/>
                <a:gd name="T72" fmla="*/ 0 w 421"/>
                <a:gd name="T73" fmla="*/ 19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270">
                  <a:moveTo>
                    <a:pt x="0" y="194"/>
                  </a:moveTo>
                  <a:lnTo>
                    <a:pt x="0" y="203"/>
                  </a:lnTo>
                  <a:lnTo>
                    <a:pt x="1" y="209"/>
                  </a:lnTo>
                  <a:lnTo>
                    <a:pt x="4" y="218"/>
                  </a:lnTo>
                  <a:lnTo>
                    <a:pt x="6" y="225"/>
                  </a:lnTo>
                  <a:lnTo>
                    <a:pt x="9" y="230"/>
                  </a:lnTo>
                  <a:lnTo>
                    <a:pt x="13" y="237"/>
                  </a:lnTo>
                  <a:lnTo>
                    <a:pt x="17" y="243"/>
                  </a:lnTo>
                  <a:lnTo>
                    <a:pt x="22" y="248"/>
                  </a:lnTo>
                  <a:lnTo>
                    <a:pt x="27" y="252"/>
                  </a:lnTo>
                  <a:lnTo>
                    <a:pt x="33" y="257"/>
                  </a:lnTo>
                  <a:lnTo>
                    <a:pt x="39" y="262"/>
                  </a:lnTo>
                  <a:lnTo>
                    <a:pt x="45" y="264"/>
                  </a:lnTo>
                  <a:lnTo>
                    <a:pt x="52" y="266"/>
                  </a:lnTo>
                  <a:lnTo>
                    <a:pt x="60" y="269"/>
                  </a:lnTo>
                  <a:lnTo>
                    <a:pt x="67" y="270"/>
                  </a:lnTo>
                  <a:lnTo>
                    <a:pt x="75" y="270"/>
                  </a:lnTo>
                  <a:lnTo>
                    <a:pt x="345" y="270"/>
                  </a:lnTo>
                  <a:lnTo>
                    <a:pt x="353" y="270"/>
                  </a:lnTo>
                  <a:lnTo>
                    <a:pt x="360" y="269"/>
                  </a:lnTo>
                  <a:lnTo>
                    <a:pt x="367" y="266"/>
                  </a:lnTo>
                  <a:lnTo>
                    <a:pt x="374" y="264"/>
                  </a:lnTo>
                  <a:lnTo>
                    <a:pt x="381" y="260"/>
                  </a:lnTo>
                  <a:lnTo>
                    <a:pt x="387" y="257"/>
                  </a:lnTo>
                  <a:lnTo>
                    <a:pt x="393" y="252"/>
                  </a:lnTo>
                  <a:lnTo>
                    <a:pt x="399" y="248"/>
                  </a:lnTo>
                  <a:lnTo>
                    <a:pt x="403" y="243"/>
                  </a:lnTo>
                  <a:lnTo>
                    <a:pt x="408" y="237"/>
                  </a:lnTo>
                  <a:lnTo>
                    <a:pt x="411" y="230"/>
                  </a:lnTo>
                  <a:lnTo>
                    <a:pt x="415" y="225"/>
                  </a:lnTo>
                  <a:lnTo>
                    <a:pt x="417" y="218"/>
                  </a:lnTo>
                  <a:lnTo>
                    <a:pt x="419" y="211"/>
                  </a:lnTo>
                  <a:lnTo>
                    <a:pt x="421" y="203"/>
                  </a:lnTo>
                  <a:lnTo>
                    <a:pt x="421" y="196"/>
                  </a:lnTo>
                  <a:lnTo>
                    <a:pt x="421" y="0"/>
                  </a:lnTo>
                  <a:lnTo>
                    <a:pt x="0" y="0"/>
                  </a:lnTo>
                  <a:lnTo>
                    <a:pt x="0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8" name="Freeform 4750">
              <a:extLst>
                <a:ext uri="{FF2B5EF4-FFF2-40B4-BE49-F238E27FC236}">
                  <a16:creationId xmlns:a16="http://schemas.microsoft.com/office/drawing/2014/main" id="{6F90758B-F302-4197-BD9D-915D8891B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4089400"/>
              <a:ext cx="134938" cy="38100"/>
            </a:xfrm>
            <a:custGeom>
              <a:avLst/>
              <a:gdLst>
                <a:gd name="T0" fmla="*/ 345 w 421"/>
                <a:gd name="T1" fmla="*/ 0 h 121"/>
                <a:gd name="T2" fmla="*/ 75 w 421"/>
                <a:gd name="T3" fmla="*/ 0 h 121"/>
                <a:gd name="T4" fmla="*/ 67 w 421"/>
                <a:gd name="T5" fmla="*/ 1 h 121"/>
                <a:gd name="T6" fmla="*/ 60 w 421"/>
                <a:gd name="T7" fmla="*/ 3 h 121"/>
                <a:gd name="T8" fmla="*/ 52 w 421"/>
                <a:gd name="T9" fmla="*/ 4 h 121"/>
                <a:gd name="T10" fmla="*/ 45 w 421"/>
                <a:gd name="T11" fmla="*/ 6 h 121"/>
                <a:gd name="T12" fmla="*/ 39 w 421"/>
                <a:gd name="T13" fmla="*/ 10 h 121"/>
                <a:gd name="T14" fmla="*/ 33 w 421"/>
                <a:gd name="T15" fmla="*/ 13 h 121"/>
                <a:gd name="T16" fmla="*/ 27 w 421"/>
                <a:gd name="T17" fmla="*/ 18 h 121"/>
                <a:gd name="T18" fmla="*/ 22 w 421"/>
                <a:gd name="T19" fmla="*/ 22 h 121"/>
                <a:gd name="T20" fmla="*/ 17 w 421"/>
                <a:gd name="T21" fmla="*/ 28 h 121"/>
                <a:gd name="T22" fmla="*/ 13 w 421"/>
                <a:gd name="T23" fmla="*/ 34 h 121"/>
                <a:gd name="T24" fmla="*/ 9 w 421"/>
                <a:gd name="T25" fmla="*/ 40 h 121"/>
                <a:gd name="T26" fmla="*/ 6 w 421"/>
                <a:gd name="T27" fmla="*/ 47 h 121"/>
                <a:gd name="T28" fmla="*/ 4 w 421"/>
                <a:gd name="T29" fmla="*/ 54 h 121"/>
                <a:gd name="T30" fmla="*/ 1 w 421"/>
                <a:gd name="T31" fmla="*/ 61 h 121"/>
                <a:gd name="T32" fmla="*/ 0 w 421"/>
                <a:gd name="T33" fmla="*/ 67 h 121"/>
                <a:gd name="T34" fmla="*/ 0 w 421"/>
                <a:gd name="T35" fmla="*/ 76 h 121"/>
                <a:gd name="T36" fmla="*/ 0 w 421"/>
                <a:gd name="T37" fmla="*/ 121 h 121"/>
                <a:gd name="T38" fmla="*/ 421 w 421"/>
                <a:gd name="T39" fmla="*/ 121 h 121"/>
                <a:gd name="T40" fmla="*/ 421 w 421"/>
                <a:gd name="T41" fmla="*/ 76 h 121"/>
                <a:gd name="T42" fmla="*/ 421 w 421"/>
                <a:gd name="T43" fmla="*/ 67 h 121"/>
                <a:gd name="T44" fmla="*/ 419 w 421"/>
                <a:gd name="T45" fmla="*/ 61 h 121"/>
                <a:gd name="T46" fmla="*/ 417 w 421"/>
                <a:gd name="T47" fmla="*/ 54 h 121"/>
                <a:gd name="T48" fmla="*/ 415 w 421"/>
                <a:gd name="T49" fmla="*/ 47 h 121"/>
                <a:gd name="T50" fmla="*/ 411 w 421"/>
                <a:gd name="T51" fmla="*/ 40 h 121"/>
                <a:gd name="T52" fmla="*/ 408 w 421"/>
                <a:gd name="T53" fmla="*/ 34 h 121"/>
                <a:gd name="T54" fmla="*/ 403 w 421"/>
                <a:gd name="T55" fmla="*/ 28 h 121"/>
                <a:gd name="T56" fmla="*/ 399 w 421"/>
                <a:gd name="T57" fmla="*/ 22 h 121"/>
                <a:gd name="T58" fmla="*/ 393 w 421"/>
                <a:gd name="T59" fmla="*/ 18 h 121"/>
                <a:gd name="T60" fmla="*/ 387 w 421"/>
                <a:gd name="T61" fmla="*/ 13 h 121"/>
                <a:gd name="T62" fmla="*/ 381 w 421"/>
                <a:gd name="T63" fmla="*/ 10 h 121"/>
                <a:gd name="T64" fmla="*/ 374 w 421"/>
                <a:gd name="T65" fmla="*/ 6 h 121"/>
                <a:gd name="T66" fmla="*/ 367 w 421"/>
                <a:gd name="T67" fmla="*/ 4 h 121"/>
                <a:gd name="T68" fmla="*/ 360 w 421"/>
                <a:gd name="T69" fmla="*/ 3 h 121"/>
                <a:gd name="T70" fmla="*/ 353 w 421"/>
                <a:gd name="T71" fmla="*/ 1 h 121"/>
                <a:gd name="T72" fmla="*/ 345 w 421"/>
                <a:gd name="T7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1" h="121">
                  <a:moveTo>
                    <a:pt x="345" y="0"/>
                  </a:moveTo>
                  <a:lnTo>
                    <a:pt x="75" y="0"/>
                  </a:lnTo>
                  <a:lnTo>
                    <a:pt x="67" y="1"/>
                  </a:lnTo>
                  <a:lnTo>
                    <a:pt x="60" y="3"/>
                  </a:lnTo>
                  <a:lnTo>
                    <a:pt x="52" y="4"/>
                  </a:lnTo>
                  <a:lnTo>
                    <a:pt x="45" y="6"/>
                  </a:lnTo>
                  <a:lnTo>
                    <a:pt x="39" y="10"/>
                  </a:lnTo>
                  <a:lnTo>
                    <a:pt x="33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4"/>
                  </a:lnTo>
                  <a:lnTo>
                    <a:pt x="9" y="40"/>
                  </a:lnTo>
                  <a:lnTo>
                    <a:pt x="6" y="47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7"/>
                  </a:lnTo>
                  <a:lnTo>
                    <a:pt x="0" y="76"/>
                  </a:lnTo>
                  <a:lnTo>
                    <a:pt x="0" y="121"/>
                  </a:lnTo>
                  <a:lnTo>
                    <a:pt x="421" y="121"/>
                  </a:lnTo>
                  <a:lnTo>
                    <a:pt x="421" y="76"/>
                  </a:lnTo>
                  <a:lnTo>
                    <a:pt x="421" y="67"/>
                  </a:lnTo>
                  <a:lnTo>
                    <a:pt x="419" y="61"/>
                  </a:lnTo>
                  <a:lnTo>
                    <a:pt x="417" y="54"/>
                  </a:lnTo>
                  <a:lnTo>
                    <a:pt x="415" y="47"/>
                  </a:lnTo>
                  <a:lnTo>
                    <a:pt x="411" y="40"/>
                  </a:lnTo>
                  <a:lnTo>
                    <a:pt x="408" y="34"/>
                  </a:lnTo>
                  <a:lnTo>
                    <a:pt x="403" y="28"/>
                  </a:lnTo>
                  <a:lnTo>
                    <a:pt x="399" y="22"/>
                  </a:lnTo>
                  <a:lnTo>
                    <a:pt x="393" y="18"/>
                  </a:lnTo>
                  <a:lnTo>
                    <a:pt x="387" y="13"/>
                  </a:lnTo>
                  <a:lnTo>
                    <a:pt x="381" y="10"/>
                  </a:lnTo>
                  <a:lnTo>
                    <a:pt x="374" y="6"/>
                  </a:lnTo>
                  <a:lnTo>
                    <a:pt x="367" y="4"/>
                  </a:lnTo>
                  <a:lnTo>
                    <a:pt x="360" y="3"/>
                  </a:lnTo>
                  <a:lnTo>
                    <a:pt x="353" y="1"/>
                  </a:lnTo>
                  <a:lnTo>
                    <a:pt x="3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93" name="Rectangle 34">
            <a:extLst>
              <a:ext uri="{FF2B5EF4-FFF2-40B4-BE49-F238E27FC236}">
                <a16:creationId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3" y="3554574"/>
            <a:ext cx="12201835" cy="23083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ln w="12700">
            <a:miter lim="400000"/>
          </a:ln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</a:pPr>
            <a:endParaRPr lang="en-US" sz="1000" kern="0" dirty="0">
              <a:solidFill>
                <a:srgbClr val="A43975"/>
              </a:solidFill>
              <a:latin typeface="+mj-ea"/>
              <a:ea typeface="+mj-ea"/>
              <a:cs typeface="+mn-ea"/>
              <a:sym typeface="+mn-lt"/>
            </a:endParaRPr>
          </a:p>
        </p:txBody>
      </p:sp>
      <p:sp>
        <p:nvSpPr>
          <p:cNvPr id="8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6B5EAFD-D6FA-4ABE-98F6-B6A8B64B7A1D}"/>
              </a:ext>
            </a:extLst>
          </p:cNvPr>
          <p:cNvSpPr txBox="1"/>
          <p:nvPr/>
        </p:nvSpPr>
        <p:spPr>
          <a:xfrm>
            <a:off x="408465" y="4533652"/>
            <a:ext cx="1557071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rgbClr val="A43975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00" kern="0" dirty="0">
                <a:solidFill>
                  <a:srgbClr val="A43975"/>
                </a:solidFill>
                <a:cs typeface="+mn-ea"/>
                <a:sym typeface="+mn-lt"/>
              </a:rPr>
              <a:t>,</a:t>
            </a:r>
            <a:r>
              <a:rPr lang="en-US" altLang="zh-CN" sz="1000" kern="0" dirty="0">
                <a:solidFill>
                  <a:srgbClr val="A43975"/>
                </a:solidFill>
                <a:cs typeface="+mn-ea"/>
                <a:sym typeface="+mn-lt"/>
              </a:rPr>
              <a:t> Synergistically utilize technically sound,  Synergistically</a:t>
            </a:r>
          </a:p>
        </p:txBody>
      </p:sp>
      <p:sp>
        <p:nvSpPr>
          <p:cNvPr id="8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6FDE55C-4341-46A7-A940-6529629068C2}"/>
              </a:ext>
            </a:extLst>
          </p:cNvPr>
          <p:cNvSpPr txBox="1"/>
          <p:nvPr/>
        </p:nvSpPr>
        <p:spPr>
          <a:xfrm>
            <a:off x="2006497" y="2131947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8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BFF79FB-71C0-4073-AB5B-E6F473C5980F}"/>
              </a:ext>
            </a:extLst>
          </p:cNvPr>
          <p:cNvSpPr txBox="1"/>
          <p:nvPr/>
        </p:nvSpPr>
        <p:spPr>
          <a:xfrm>
            <a:off x="3596109" y="4609367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8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B40F3E3-B4D6-47CC-BA91-5E87BCCD044C}"/>
              </a:ext>
            </a:extLst>
          </p:cNvPr>
          <p:cNvSpPr txBox="1"/>
          <p:nvPr/>
        </p:nvSpPr>
        <p:spPr>
          <a:xfrm>
            <a:off x="5158002" y="2191457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8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140952A-7A3F-4AF5-B938-ED862369A6FA}"/>
              </a:ext>
            </a:extLst>
          </p:cNvPr>
          <p:cNvSpPr txBox="1"/>
          <p:nvPr/>
        </p:nvSpPr>
        <p:spPr>
          <a:xfrm>
            <a:off x="6838066" y="4436607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8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D94FFCF-8082-4867-BE5A-E77C78DEC5C4}"/>
              </a:ext>
            </a:extLst>
          </p:cNvPr>
          <p:cNvSpPr txBox="1"/>
          <p:nvPr/>
        </p:nvSpPr>
        <p:spPr>
          <a:xfrm>
            <a:off x="8424526" y="2058694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9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B8ED6BB-1404-46F4-92D8-047491321F97}"/>
              </a:ext>
            </a:extLst>
          </p:cNvPr>
          <p:cNvSpPr txBox="1"/>
          <p:nvPr/>
        </p:nvSpPr>
        <p:spPr>
          <a:xfrm>
            <a:off x="10080022" y="4434183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BCCB8358-5F49-422D-8514-57A7AAC79A3F}"/>
              </a:ext>
            </a:extLst>
          </p:cNvPr>
          <p:cNvSpPr txBox="1"/>
          <p:nvPr/>
        </p:nvSpPr>
        <p:spPr>
          <a:xfrm>
            <a:off x="5067497" y="601407"/>
            <a:ext cx="2556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510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9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2" name="Google Shape;822;p27"/>
          <p:cNvGrpSpPr/>
          <p:nvPr/>
        </p:nvGrpSpPr>
        <p:grpSpPr>
          <a:xfrm>
            <a:off x="620980" y="536178"/>
            <a:ext cx="10962291" cy="5779329"/>
            <a:chOff x="466397" y="402133"/>
            <a:chExt cx="8221718" cy="4334497"/>
          </a:xfrm>
        </p:grpSpPr>
        <p:grpSp>
          <p:nvGrpSpPr>
            <p:cNvPr id="823" name="Google Shape;823;p27"/>
            <p:cNvGrpSpPr/>
            <p:nvPr/>
          </p:nvGrpSpPr>
          <p:grpSpPr>
            <a:xfrm>
              <a:off x="466397" y="402133"/>
              <a:ext cx="8221718" cy="4334497"/>
              <a:chOff x="466397" y="402133"/>
              <a:chExt cx="8221718" cy="4334497"/>
            </a:xfrm>
          </p:grpSpPr>
          <p:sp>
            <p:nvSpPr>
              <p:cNvPr id="824" name="Google Shape;824;p27"/>
              <p:cNvSpPr/>
              <p:nvPr/>
            </p:nvSpPr>
            <p:spPr>
              <a:xfrm>
                <a:off x="466397" y="3262837"/>
                <a:ext cx="8220686" cy="1473793"/>
              </a:xfrm>
              <a:custGeom>
                <a:avLst/>
                <a:gdLst/>
                <a:ahLst/>
                <a:cxnLst/>
                <a:rect l="l" t="t" r="r" b="b"/>
                <a:pathLst>
                  <a:path w="254905" h="45699" extrusionOk="0">
                    <a:moveTo>
                      <a:pt x="218359" y="1"/>
                    </a:moveTo>
                    <a:lnTo>
                      <a:pt x="218359" y="9565"/>
                    </a:lnTo>
                    <a:cubicBezTo>
                      <a:pt x="220607" y="9565"/>
                      <a:pt x="222761" y="9628"/>
                      <a:pt x="224756" y="9755"/>
                    </a:cubicBezTo>
                    <a:cubicBezTo>
                      <a:pt x="231628" y="10167"/>
                      <a:pt x="236917" y="11338"/>
                      <a:pt x="240432" y="13207"/>
                    </a:cubicBezTo>
                    <a:cubicBezTo>
                      <a:pt x="244802" y="15487"/>
                      <a:pt x="245372" y="18305"/>
                      <a:pt x="245372" y="20522"/>
                    </a:cubicBezTo>
                    <a:cubicBezTo>
                      <a:pt x="245372" y="26128"/>
                      <a:pt x="239007" y="29706"/>
                      <a:pt x="233718" y="31733"/>
                    </a:cubicBezTo>
                    <a:cubicBezTo>
                      <a:pt x="226529" y="34457"/>
                      <a:pt x="216680" y="36040"/>
                      <a:pt x="206673" y="36135"/>
                    </a:cubicBezTo>
                    <a:lnTo>
                      <a:pt x="0" y="36135"/>
                    </a:lnTo>
                    <a:lnTo>
                      <a:pt x="0" y="45699"/>
                    </a:lnTo>
                    <a:lnTo>
                      <a:pt x="206704" y="45699"/>
                    </a:lnTo>
                    <a:lnTo>
                      <a:pt x="206736" y="45667"/>
                    </a:lnTo>
                    <a:cubicBezTo>
                      <a:pt x="217820" y="45604"/>
                      <a:pt x="228904" y="43767"/>
                      <a:pt x="237107" y="40664"/>
                    </a:cubicBezTo>
                    <a:cubicBezTo>
                      <a:pt x="251833" y="35058"/>
                      <a:pt x="254905" y="26634"/>
                      <a:pt x="254905" y="20522"/>
                    </a:cubicBezTo>
                    <a:cubicBezTo>
                      <a:pt x="254905" y="13650"/>
                      <a:pt x="251453" y="8203"/>
                      <a:pt x="244897" y="4751"/>
                    </a:cubicBezTo>
                    <a:cubicBezTo>
                      <a:pt x="240084" y="2218"/>
                      <a:pt x="233686" y="729"/>
                      <a:pt x="225358" y="191"/>
                    </a:cubicBezTo>
                    <a:cubicBezTo>
                      <a:pt x="223172" y="64"/>
                      <a:pt x="220829" y="1"/>
                      <a:pt x="218359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25" name="Google Shape;825;p27"/>
              <p:cNvSpPr/>
              <p:nvPr/>
            </p:nvSpPr>
            <p:spPr>
              <a:xfrm>
                <a:off x="466397" y="3282252"/>
                <a:ext cx="8201304" cy="1434996"/>
              </a:xfrm>
              <a:custGeom>
                <a:avLst/>
                <a:gdLst/>
                <a:ahLst/>
                <a:cxnLst/>
                <a:rect l="l" t="t" r="r" b="b"/>
                <a:pathLst>
                  <a:path w="254304" h="44496" extrusionOk="0">
                    <a:moveTo>
                      <a:pt x="218359" y="1"/>
                    </a:moveTo>
                    <a:lnTo>
                      <a:pt x="218359" y="8361"/>
                    </a:lnTo>
                    <a:cubicBezTo>
                      <a:pt x="220639" y="8361"/>
                      <a:pt x="222792" y="8424"/>
                      <a:pt x="224787" y="8551"/>
                    </a:cubicBezTo>
                    <a:cubicBezTo>
                      <a:pt x="231755" y="8994"/>
                      <a:pt x="237107" y="10166"/>
                      <a:pt x="240717" y="12066"/>
                    </a:cubicBezTo>
                    <a:cubicBezTo>
                      <a:pt x="244327" y="13966"/>
                      <a:pt x="245942" y="16405"/>
                      <a:pt x="245942" y="19920"/>
                    </a:cubicBezTo>
                    <a:cubicBezTo>
                      <a:pt x="245942" y="25874"/>
                      <a:pt x="239387" y="29611"/>
                      <a:pt x="233908" y="31669"/>
                    </a:cubicBezTo>
                    <a:cubicBezTo>
                      <a:pt x="226688" y="34425"/>
                      <a:pt x="216744" y="36040"/>
                      <a:pt x="206673" y="36135"/>
                    </a:cubicBezTo>
                    <a:lnTo>
                      <a:pt x="0" y="36135"/>
                    </a:lnTo>
                    <a:lnTo>
                      <a:pt x="0" y="44495"/>
                    </a:lnTo>
                    <a:lnTo>
                      <a:pt x="206704" y="44495"/>
                    </a:lnTo>
                    <a:lnTo>
                      <a:pt x="206736" y="44464"/>
                    </a:lnTo>
                    <a:cubicBezTo>
                      <a:pt x="217757" y="44400"/>
                      <a:pt x="228746" y="42564"/>
                      <a:pt x="236885" y="39492"/>
                    </a:cubicBezTo>
                    <a:cubicBezTo>
                      <a:pt x="251294" y="34045"/>
                      <a:pt x="254303" y="25842"/>
                      <a:pt x="254303" y="19920"/>
                    </a:cubicBezTo>
                    <a:cubicBezTo>
                      <a:pt x="254303" y="13270"/>
                      <a:pt x="250946" y="8013"/>
                      <a:pt x="244612" y="4656"/>
                    </a:cubicBezTo>
                    <a:cubicBezTo>
                      <a:pt x="239894" y="2186"/>
                      <a:pt x="233560" y="729"/>
                      <a:pt x="225326" y="191"/>
                    </a:cubicBezTo>
                    <a:cubicBezTo>
                      <a:pt x="223141" y="64"/>
                      <a:pt x="220797" y="1"/>
                      <a:pt x="218359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26" name="Google Shape;826;p27"/>
              <p:cNvSpPr/>
              <p:nvPr/>
            </p:nvSpPr>
            <p:spPr>
              <a:xfrm>
                <a:off x="6329834" y="2501963"/>
                <a:ext cx="2358281" cy="1472793"/>
              </a:xfrm>
              <a:custGeom>
                <a:avLst/>
                <a:gdLst/>
                <a:ahLst/>
                <a:cxnLst/>
                <a:rect l="l" t="t" r="r" b="b"/>
                <a:pathLst>
                  <a:path w="73125" h="45668" extrusionOk="0">
                    <a:moveTo>
                      <a:pt x="36578" y="0"/>
                    </a:moveTo>
                    <a:lnTo>
                      <a:pt x="36578" y="9533"/>
                    </a:lnTo>
                    <a:cubicBezTo>
                      <a:pt x="46617" y="9533"/>
                      <a:pt x="54028" y="10768"/>
                      <a:pt x="58620" y="13175"/>
                    </a:cubicBezTo>
                    <a:cubicBezTo>
                      <a:pt x="62990" y="15487"/>
                      <a:pt x="63560" y="18305"/>
                      <a:pt x="63560" y="20490"/>
                    </a:cubicBezTo>
                    <a:cubicBezTo>
                      <a:pt x="63560" y="24164"/>
                      <a:pt x="60900" y="27362"/>
                      <a:pt x="55706" y="30054"/>
                    </a:cubicBezTo>
                    <a:cubicBezTo>
                      <a:pt x="49088" y="33411"/>
                      <a:pt x="38953" y="35596"/>
                      <a:pt x="27869" y="36040"/>
                    </a:cubicBezTo>
                    <a:cubicBezTo>
                      <a:pt x="26553" y="36092"/>
                      <a:pt x="25295" y="36116"/>
                      <a:pt x="24098" y="36116"/>
                    </a:cubicBezTo>
                    <a:cubicBezTo>
                      <a:pt x="20227" y="36116"/>
                      <a:pt x="16996" y="35864"/>
                      <a:pt x="14505" y="35501"/>
                    </a:cubicBezTo>
                    <a:cubicBezTo>
                      <a:pt x="15423" y="35248"/>
                      <a:pt x="16468" y="35026"/>
                      <a:pt x="17672" y="34773"/>
                    </a:cubicBezTo>
                    <a:cubicBezTo>
                      <a:pt x="22961" y="33728"/>
                      <a:pt x="29674" y="33158"/>
                      <a:pt x="36547" y="33158"/>
                    </a:cubicBezTo>
                    <a:cubicBezTo>
                      <a:pt x="38257" y="33158"/>
                      <a:pt x="39935" y="33189"/>
                      <a:pt x="41519" y="33253"/>
                    </a:cubicBezTo>
                    <a:lnTo>
                      <a:pt x="41962" y="23720"/>
                    </a:lnTo>
                    <a:cubicBezTo>
                      <a:pt x="40252" y="23625"/>
                      <a:pt x="38415" y="23594"/>
                      <a:pt x="36578" y="23594"/>
                    </a:cubicBezTo>
                    <a:cubicBezTo>
                      <a:pt x="27711" y="23594"/>
                      <a:pt x="19319" y="24481"/>
                      <a:pt x="12953" y="26032"/>
                    </a:cubicBezTo>
                    <a:cubicBezTo>
                      <a:pt x="9596" y="26887"/>
                      <a:pt x="6873" y="27901"/>
                      <a:pt x="4878" y="29073"/>
                    </a:cubicBezTo>
                    <a:cubicBezTo>
                      <a:pt x="856" y="31416"/>
                      <a:pt x="1" y="34266"/>
                      <a:pt x="1" y="36230"/>
                    </a:cubicBezTo>
                    <a:cubicBezTo>
                      <a:pt x="1" y="37655"/>
                      <a:pt x="507" y="40315"/>
                      <a:pt x="3864" y="42278"/>
                    </a:cubicBezTo>
                    <a:cubicBezTo>
                      <a:pt x="5258" y="43102"/>
                      <a:pt x="7063" y="43767"/>
                      <a:pt x="9343" y="44274"/>
                    </a:cubicBezTo>
                    <a:cubicBezTo>
                      <a:pt x="13238" y="45192"/>
                      <a:pt x="18337" y="45667"/>
                      <a:pt x="24132" y="45667"/>
                    </a:cubicBezTo>
                    <a:cubicBezTo>
                      <a:pt x="35312" y="45667"/>
                      <a:pt x="46522" y="43894"/>
                      <a:pt x="54915" y="40790"/>
                    </a:cubicBezTo>
                    <a:cubicBezTo>
                      <a:pt x="69958" y="35216"/>
                      <a:pt x="73124" y="26697"/>
                      <a:pt x="73124" y="20522"/>
                    </a:cubicBezTo>
                    <a:cubicBezTo>
                      <a:pt x="73124" y="13618"/>
                      <a:pt x="69641" y="8171"/>
                      <a:pt x="63054" y="4719"/>
                    </a:cubicBezTo>
                    <a:cubicBezTo>
                      <a:pt x="57005" y="1521"/>
                      <a:pt x="48328" y="0"/>
                      <a:pt x="36578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27" name="Google Shape;827;p27"/>
              <p:cNvSpPr/>
              <p:nvPr/>
            </p:nvSpPr>
            <p:spPr>
              <a:xfrm>
                <a:off x="6349248" y="2521377"/>
                <a:ext cx="2319452" cy="1433964"/>
              </a:xfrm>
              <a:custGeom>
                <a:avLst/>
                <a:gdLst/>
                <a:ahLst/>
                <a:cxnLst/>
                <a:rect l="l" t="t" r="r" b="b"/>
                <a:pathLst>
                  <a:path w="71921" h="44464" extrusionOk="0">
                    <a:moveTo>
                      <a:pt x="35945" y="0"/>
                    </a:moveTo>
                    <a:lnTo>
                      <a:pt x="35945" y="8361"/>
                    </a:lnTo>
                    <a:cubicBezTo>
                      <a:pt x="46110" y="8361"/>
                      <a:pt x="53616" y="9596"/>
                      <a:pt x="58271" y="12034"/>
                    </a:cubicBezTo>
                    <a:cubicBezTo>
                      <a:pt x="61913" y="13966"/>
                      <a:pt x="63560" y="16373"/>
                      <a:pt x="63560" y="19920"/>
                    </a:cubicBezTo>
                    <a:cubicBezTo>
                      <a:pt x="63560" y="23942"/>
                      <a:pt x="60583" y="27457"/>
                      <a:pt x="54724" y="30276"/>
                    </a:cubicBezTo>
                    <a:cubicBezTo>
                      <a:pt x="47884" y="33601"/>
                      <a:pt x="37655" y="35723"/>
                      <a:pt x="26602" y="36071"/>
                    </a:cubicBezTo>
                    <a:cubicBezTo>
                      <a:pt x="25496" y="36106"/>
                      <a:pt x="24438" y="36122"/>
                      <a:pt x="23429" y="36122"/>
                    </a:cubicBezTo>
                    <a:cubicBezTo>
                      <a:pt x="17966" y="36122"/>
                      <a:pt x="13926" y="35651"/>
                      <a:pt x="11306" y="35089"/>
                    </a:cubicBezTo>
                    <a:cubicBezTo>
                      <a:pt x="12605" y="34614"/>
                      <a:pt x="14378" y="34108"/>
                      <a:pt x="16690" y="33664"/>
                    </a:cubicBezTo>
                    <a:cubicBezTo>
                      <a:pt x="22074" y="32556"/>
                      <a:pt x="28914" y="31954"/>
                      <a:pt x="35945" y="31954"/>
                    </a:cubicBezTo>
                    <a:cubicBezTo>
                      <a:pt x="37686" y="31954"/>
                      <a:pt x="39365" y="31986"/>
                      <a:pt x="40948" y="32081"/>
                    </a:cubicBezTo>
                    <a:lnTo>
                      <a:pt x="41297" y="23720"/>
                    </a:lnTo>
                    <a:cubicBezTo>
                      <a:pt x="39587" y="23625"/>
                      <a:pt x="37813" y="23594"/>
                      <a:pt x="35945" y="23594"/>
                    </a:cubicBezTo>
                    <a:cubicBezTo>
                      <a:pt x="27141" y="23594"/>
                      <a:pt x="18812" y="24449"/>
                      <a:pt x="12478" y="26032"/>
                    </a:cubicBezTo>
                    <a:cubicBezTo>
                      <a:pt x="9184" y="26855"/>
                      <a:pt x="6524" y="27837"/>
                      <a:pt x="4561" y="28977"/>
                    </a:cubicBezTo>
                    <a:cubicBezTo>
                      <a:pt x="792" y="31194"/>
                      <a:pt x="0" y="33823"/>
                      <a:pt x="0" y="35659"/>
                    </a:cubicBezTo>
                    <a:cubicBezTo>
                      <a:pt x="0" y="36926"/>
                      <a:pt x="475" y="39365"/>
                      <a:pt x="3579" y="41170"/>
                    </a:cubicBezTo>
                    <a:cubicBezTo>
                      <a:pt x="4909" y="41961"/>
                      <a:pt x="6651" y="42595"/>
                      <a:pt x="8868" y="43102"/>
                    </a:cubicBezTo>
                    <a:cubicBezTo>
                      <a:pt x="12668" y="43988"/>
                      <a:pt x="17893" y="44463"/>
                      <a:pt x="23530" y="44463"/>
                    </a:cubicBezTo>
                    <a:cubicBezTo>
                      <a:pt x="34646" y="44463"/>
                      <a:pt x="45794" y="42722"/>
                      <a:pt x="54091" y="39618"/>
                    </a:cubicBezTo>
                    <a:cubicBezTo>
                      <a:pt x="68817" y="34171"/>
                      <a:pt x="71921" y="25905"/>
                      <a:pt x="71921" y="19920"/>
                    </a:cubicBezTo>
                    <a:cubicBezTo>
                      <a:pt x="71921" y="13269"/>
                      <a:pt x="68532" y="7981"/>
                      <a:pt x="62167" y="4656"/>
                    </a:cubicBezTo>
                    <a:cubicBezTo>
                      <a:pt x="56213" y="1520"/>
                      <a:pt x="47631" y="0"/>
                      <a:pt x="35945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28" name="Google Shape;828;p27"/>
              <p:cNvSpPr/>
              <p:nvPr/>
            </p:nvSpPr>
            <p:spPr>
              <a:xfrm>
                <a:off x="6329834" y="1740057"/>
                <a:ext cx="2357249" cy="1472793"/>
              </a:xfrm>
              <a:custGeom>
                <a:avLst/>
                <a:gdLst/>
                <a:ahLst/>
                <a:cxnLst/>
                <a:rect l="l" t="t" r="r" b="b"/>
                <a:pathLst>
                  <a:path w="73093" h="45668" extrusionOk="0">
                    <a:moveTo>
                      <a:pt x="36547" y="0"/>
                    </a:moveTo>
                    <a:lnTo>
                      <a:pt x="36547" y="9564"/>
                    </a:lnTo>
                    <a:cubicBezTo>
                      <a:pt x="46617" y="9564"/>
                      <a:pt x="54028" y="10768"/>
                      <a:pt x="58620" y="13175"/>
                    </a:cubicBezTo>
                    <a:cubicBezTo>
                      <a:pt x="62990" y="15487"/>
                      <a:pt x="63529" y="18305"/>
                      <a:pt x="63529" y="20522"/>
                    </a:cubicBezTo>
                    <a:cubicBezTo>
                      <a:pt x="63529" y="24164"/>
                      <a:pt x="60900" y="27362"/>
                      <a:pt x="55675" y="30054"/>
                    </a:cubicBezTo>
                    <a:cubicBezTo>
                      <a:pt x="49088" y="33411"/>
                      <a:pt x="38922" y="35596"/>
                      <a:pt x="27838" y="36040"/>
                    </a:cubicBezTo>
                    <a:cubicBezTo>
                      <a:pt x="26529" y="36092"/>
                      <a:pt x="25276" y="36116"/>
                      <a:pt x="24083" y="36116"/>
                    </a:cubicBezTo>
                    <a:cubicBezTo>
                      <a:pt x="20225" y="36116"/>
                      <a:pt x="16989" y="35864"/>
                      <a:pt x="14473" y="35501"/>
                    </a:cubicBezTo>
                    <a:cubicBezTo>
                      <a:pt x="15392" y="35280"/>
                      <a:pt x="16468" y="35026"/>
                      <a:pt x="17640" y="34773"/>
                    </a:cubicBezTo>
                    <a:cubicBezTo>
                      <a:pt x="22644" y="33791"/>
                      <a:pt x="28883" y="33221"/>
                      <a:pt x="35343" y="33158"/>
                    </a:cubicBezTo>
                    <a:lnTo>
                      <a:pt x="36578" y="33158"/>
                    </a:lnTo>
                    <a:cubicBezTo>
                      <a:pt x="38288" y="33158"/>
                      <a:pt x="39935" y="33189"/>
                      <a:pt x="41519" y="33284"/>
                    </a:cubicBezTo>
                    <a:lnTo>
                      <a:pt x="41962" y="23720"/>
                    </a:lnTo>
                    <a:cubicBezTo>
                      <a:pt x="40632" y="23657"/>
                      <a:pt x="39239" y="23625"/>
                      <a:pt x="37813" y="23625"/>
                    </a:cubicBezTo>
                    <a:lnTo>
                      <a:pt x="37782" y="23594"/>
                    </a:lnTo>
                    <a:lnTo>
                      <a:pt x="36547" y="23594"/>
                    </a:lnTo>
                    <a:cubicBezTo>
                      <a:pt x="27679" y="23594"/>
                      <a:pt x="19287" y="24481"/>
                      <a:pt x="12922" y="26032"/>
                    </a:cubicBezTo>
                    <a:cubicBezTo>
                      <a:pt x="9565" y="26887"/>
                      <a:pt x="6841" y="27901"/>
                      <a:pt x="4846" y="29073"/>
                    </a:cubicBezTo>
                    <a:cubicBezTo>
                      <a:pt x="824" y="31416"/>
                      <a:pt x="1" y="34266"/>
                      <a:pt x="1" y="36261"/>
                    </a:cubicBezTo>
                    <a:cubicBezTo>
                      <a:pt x="1" y="37655"/>
                      <a:pt x="507" y="40315"/>
                      <a:pt x="3864" y="42310"/>
                    </a:cubicBezTo>
                    <a:cubicBezTo>
                      <a:pt x="5258" y="43102"/>
                      <a:pt x="7031" y="43767"/>
                      <a:pt x="9311" y="44305"/>
                    </a:cubicBezTo>
                    <a:cubicBezTo>
                      <a:pt x="13207" y="45192"/>
                      <a:pt x="18337" y="45667"/>
                      <a:pt x="24101" y="45667"/>
                    </a:cubicBezTo>
                    <a:cubicBezTo>
                      <a:pt x="35280" y="45667"/>
                      <a:pt x="46491" y="43894"/>
                      <a:pt x="54883" y="40790"/>
                    </a:cubicBezTo>
                    <a:cubicBezTo>
                      <a:pt x="69958" y="35216"/>
                      <a:pt x="73093" y="26697"/>
                      <a:pt x="73093" y="20522"/>
                    </a:cubicBezTo>
                    <a:cubicBezTo>
                      <a:pt x="73093" y="13650"/>
                      <a:pt x="69641" y="8203"/>
                      <a:pt x="63085" y="4719"/>
                    </a:cubicBezTo>
                    <a:cubicBezTo>
                      <a:pt x="57005" y="1552"/>
                      <a:pt x="48328" y="0"/>
                      <a:pt x="36547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29" name="Google Shape;829;p27"/>
              <p:cNvSpPr/>
              <p:nvPr/>
            </p:nvSpPr>
            <p:spPr>
              <a:xfrm>
                <a:off x="6349248" y="1759471"/>
                <a:ext cx="2318453" cy="1434964"/>
              </a:xfrm>
              <a:custGeom>
                <a:avLst/>
                <a:gdLst/>
                <a:ahLst/>
                <a:cxnLst/>
                <a:rect l="l" t="t" r="r" b="b"/>
                <a:pathLst>
                  <a:path w="71890" h="44495" extrusionOk="0">
                    <a:moveTo>
                      <a:pt x="35945" y="0"/>
                    </a:moveTo>
                    <a:lnTo>
                      <a:pt x="35945" y="8361"/>
                    </a:lnTo>
                    <a:cubicBezTo>
                      <a:pt x="46110" y="8361"/>
                      <a:pt x="53616" y="9596"/>
                      <a:pt x="58271" y="12066"/>
                    </a:cubicBezTo>
                    <a:cubicBezTo>
                      <a:pt x="61913" y="13966"/>
                      <a:pt x="63528" y="16405"/>
                      <a:pt x="63528" y="19920"/>
                    </a:cubicBezTo>
                    <a:cubicBezTo>
                      <a:pt x="63528" y="23974"/>
                      <a:pt x="60552" y="27457"/>
                      <a:pt x="54724" y="30307"/>
                    </a:cubicBezTo>
                    <a:cubicBezTo>
                      <a:pt x="47884" y="33601"/>
                      <a:pt x="37623" y="35723"/>
                      <a:pt x="26571" y="36071"/>
                    </a:cubicBezTo>
                    <a:cubicBezTo>
                      <a:pt x="25464" y="36106"/>
                      <a:pt x="24407" y="36122"/>
                      <a:pt x="23399" y="36122"/>
                    </a:cubicBezTo>
                    <a:cubicBezTo>
                      <a:pt x="17943" y="36122"/>
                      <a:pt x="13921" y="35651"/>
                      <a:pt x="11274" y="35089"/>
                    </a:cubicBezTo>
                    <a:cubicBezTo>
                      <a:pt x="12605" y="34614"/>
                      <a:pt x="14346" y="34139"/>
                      <a:pt x="16658" y="33664"/>
                    </a:cubicBezTo>
                    <a:cubicBezTo>
                      <a:pt x="21789" y="32619"/>
                      <a:pt x="28217" y="32017"/>
                      <a:pt x="34868" y="31986"/>
                    </a:cubicBezTo>
                    <a:lnTo>
                      <a:pt x="35976" y="31986"/>
                    </a:lnTo>
                    <a:cubicBezTo>
                      <a:pt x="37686" y="31986"/>
                      <a:pt x="39365" y="32017"/>
                      <a:pt x="40948" y="32081"/>
                    </a:cubicBezTo>
                    <a:cubicBezTo>
                      <a:pt x="40948" y="32081"/>
                      <a:pt x="40949" y="32081"/>
                      <a:pt x="40949" y="32081"/>
                    </a:cubicBezTo>
                    <a:cubicBezTo>
                      <a:pt x="40983" y="32081"/>
                      <a:pt x="41328" y="23720"/>
                      <a:pt x="41328" y="23720"/>
                    </a:cubicBezTo>
                    <a:cubicBezTo>
                      <a:pt x="39935" y="23657"/>
                      <a:pt x="38510" y="23625"/>
                      <a:pt x="37053" y="23625"/>
                    </a:cubicBezTo>
                    <a:lnTo>
                      <a:pt x="37021" y="23594"/>
                    </a:lnTo>
                    <a:lnTo>
                      <a:pt x="35945" y="23594"/>
                    </a:lnTo>
                    <a:cubicBezTo>
                      <a:pt x="27141" y="23594"/>
                      <a:pt x="18780" y="24480"/>
                      <a:pt x="12478" y="26032"/>
                    </a:cubicBezTo>
                    <a:cubicBezTo>
                      <a:pt x="9153" y="26855"/>
                      <a:pt x="6492" y="27837"/>
                      <a:pt x="4561" y="28977"/>
                    </a:cubicBezTo>
                    <a:cubicBezTo>
                      <a:pt x="792" y="31194"/>
                      <a:pt x="0" y="33823"/>
                      <a:pt x="0" y="35659"/>
                    </a:cubicBezTo>
                    <a:cubicBezTo>
                      <a:pt x="0" y="36926"/>
                      <a:pt x="444" y="39365"/>
                      <a:pt x="3547" y="41170"/>
                    </a:cubicBezTo>
                    <a:cubicBezTo>
                      <a:pt x="4909" y="41961"/>
                      <a:pt x="6619" y="42595"/>
                      <a:pt x="8836" y="43102"/>
                    </a:cubicBezTo>
                    <a:cubicBezTo>
                      <a:pt x="12636" y="43988"/>
                      <a:pt x="17862" y="44495"/>
                      <a:pt x="23499" y="44495"/>
                    </a:cubicBezTo>
                    <a:cubicBezTo>
                      <a:pt x="34615" y="44495"/>
                      <a:pt x="45762" y="42722"/>
                      <a:pt x="54059" y="39650"/>
                    </a:cubicBezTo>
                    <a:cubicBezTo>
                      <a:pt x="68817" y="34203"/>
                      <a:pt x="71889" y="25905"/>
                      <a:pt x="71889" y="19920"/>
                    </a:cubicBezTo>
                    <a:cubicBezTo>
                      <a:pt x="71889" y="13301"/>
                      <a:pt x="68532" y="8012"/>
                      <a:pt x="62198" y="4656"/>
                    </a:cubicBezTo>
                    <a:cubicBezTo>
                      <a:pt x="56213" y="1520"/>
                      <a:pt x="47631" y="0"/>
                      <a:pt x="35945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0" name="Google Shape;830;p27"/>
              <p:cNvSpPr/>
              <p:nvPr/>
            </p:nvSpPr>
            <p:spPr>
              <a:xfrm>
                <a:off x="6329834" y="402133"/>
                <a:ext cx="2358281" cy="2049810"/>
              </a:xfrm>
              <a:custGeom>
                <a:avLst/>
                <a:gdLst/>
                <a:ahLst/>
                <a:cxnLst/>
                <a:rect l="l" t="t" r="r" b="b"/>
                <a:pathLst>
                  <a:path w="73125" h="63560" extrusionOk="0">
                    <a:moveTo>
                      <a:pt x="49468" y="0"/>
                    </a:moveTo>
                    <a:lnTo>
                      <a:pt x="31796" y="3199"/>
                    </a:lnTo>
                    <a:cubicBezTo>
                      <a:pt x="31480" y="3262"/>
                      <a:pt x="31258" y="3579"/>
                      <a:pt x="31321" y="3896"/>
                    </a:cubicBezTo>
                    <a:lnTo>
                      <a:pt x="34520" y="21567"/>
                    </a:lnTo>
                    <a:cubicBezTo>
                      <a:pt x="34551" y="21820"/>
                      <a:pt x="34742" y="22010"/>
                      <a:pt x="34963" y="22042"/>
                    </a:cubicBezTo>
                    <a:cubicBezTo>
                      <a:pt x="35027" y="22073"/>
                      <a:pt x="35058" y="22073"/>
                      <a:pt x="35090" y="22073"/>
                    </a:cubicBezTo>
                    <a:cubicBezTo>
                      <a:pt x="35280" y="22073"/>
                      <a:pt x="35470" y="21978"/>
                      <a:pt x="35597" y="21820"/>
                    </a:cubicBezTo>
                    <a:lnTo>
                      <a:pt x="40125" y="15296"/>
                    </a:lnTo>
                    <a:cubicBezTo>
                      <a:pt x="41455" y="16183"/>
                      <a:pt x="42785" y="17070"/>
                      <a:pt x="44116" y="17957"/>
                    </a:cubicBezTo>
                    <a:cubicBezTo>
                      <a:pt x="53680" y="24227"/>
                      <a:pt x="63560" y="30751"/>
                      <a:pt x="63560" y="38383"/>
                    </a:cubicBezTo>
                    <a:cubicBezTo>
                      <a:pt x="63560" y="42025"/>
                      <a:pt x="60900" y="45255"/>
                      <a:pt x="55706" y="47915"/>
                    </a:cubicBezTo>
                    <a:cubicBezTo>
                      <a:pt x="49088" y="51304"/>
                      <a:pt x="38953" y="53489"/>
                      <a:pt x="27869" y="53932"/>
                    </a:cubicBezTo>
                    <a:cubicBezTo>
                      <a:pt x="26668" y="53973"/>
                      <a:pt x="25516" y="53992"/>
                      <a:pt x="24414" y="53992"/>
                    </a:cubicBezTo>
                    <a:cubicBezTo>
                      <a:pt x="20403" y="53992"/>
                      <a:pt x="17064" y="53742"/>
                      <a:pt x="14505" y="53394"/>
                    </a:cubicBezTo>
                    <a:cubicBezTo>
                      <a:pt x="15423" y="53141"/>
                      <a:pt x="16468" y="52887"/>
                      <a:pt x="17672" y="52666"/>
                    </a:cubicBezTo>
                    <a:cubicBezTo>
                      <a:pt x="22961" y="51621"/>
                      <a:pt x="29674" y="51019"/>
                      <a:pt x="36547" y="51019"/>
                    </a:cubicBezTo>
                    <a:cubicBezTo>
                      <a:pt x="38257" y="51019"/>
                      <a:pt x="39935" y="51082"/>
                      <a:pt x="41519" y="51146"/>
                    </a:cubicBezTo>
                    <a:lnTo>
                      <a:pt x="41962" y="41581"/>
                    </a:lnTo>
                    <a:cubicBezTo>
                      <a:pt x="40220" y="41518"/>
                      <a:pt x="38415" y="41486"/>
                      <a:pt x="36547" y="41486"/>
                    </a:cubicBezTo>
                    <a:cubicBezTo>
                      <a:pt x="27711" y="41486"/>
                      <a:pt x="19319" y="42342"/>
                      <a:pt x="12953" y="43925"/>
                    </a:cubicBezTo>
                    <a:cubicBezTo>
                      <a:pt x="9596" y="44748"/>
                      <a:pt x="6873" y="45762"/>
                      <a:pt x="4878" y="46934"/>
                    </a:cubicBezTo>
                    <a:cubicBezTo>
                      <a:pt x="856" y="49277"/>
                      <a:pt x="1" y="52159"/>
                      <a:pt x="1" y="54122"/>
                    </a:cubicBezTo>
                    <a:cubicBezTo>
                      <a:pt x="1" y="55547"/>
                      <a:pt x="507" y="58208"/>
                      <a:pt x="3864" y="60171"/>
                    </a:cubicBezTo>
                    <a:cubicBezTo>
                      <a:pt x="5258" y="60995"/>
                      <a:pt x="7031" y="61660"/>
                      <a:pt x="9311" y="62166"/>
                    </a:cubicBezTo>
                    <a:cubicBezTo>
                      <a:pt x="13238" y="63085"/>
                      <a:pt x="18337" y="63560"/>
                      <a:pt x="24132" y="63560"/>
                    </a:cubicBezTo>
                    <a:cubicBezTo>
                      <a:pt x="35312" y="63560"/>
                      <a:pt x="46522" y="61786"/>
                      <a:pt x="54915" y="58683"/>
                    </a:cubicBezTo>
                    <a:cubicBezTo>
                      <a:pt x="69958" y="53109"/>
                      <a:pt x="73124" y="44558"/>
                      <a:pt x="73124" y="38383"/>
                    </a:cubicBezTo>
                    <a:cubicBezTo>
                      <a:pt x="73124" y="32461"/>
                      <a:pt x="70433" y="26950"/>
                      <a:pt x="64859" y="21535"/>
                    </a:cubicBezTo>
                    <a:cubicBezTo>
                      <a:pt x="60457" y="17260"/>
                      <a:pt x="54820" y="13555"/>
                      <a:pt x="49373" y="9976"/>
                    </a:cubicBezTo>
                    <a:cubicBezTo>
                      <a:pt x="48043" y="9089"/>
                      <a:pt x="46776" y="8266"/>
                      <a:pt x="45541" y="7442"/>
                    </a:cubicBezTo>
                    <a:lnTo>
                      <a:pt x="50069" y="950"/>
                    </a:lnTo>
                    <a:cubicBezTo>
                      <a:pt x="50196" y="729"/>
                      <a:pt x="50196" y="475"/>
                      <a:pt x="50069" y="285"/>
                    </a:cubicBezTo>
                    <a:cubicBezTo>
                      <a:pt x="49974" y="95"/>
                      <a:pt x="49784" y="0"/>
                      <a:pt x="49563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1" name="Google Shape;831;p27"/>
              <p:cNvSpPr/>
              <p:nvPr/>
            </p:nvSpPr>
            <p:spPr>
              <a:xfrm>
                <a:off x="6350248" y="421515"/>
                <a:ext cx="2318453" cy="2011013"/>
              </a:xfrm>
              <a:custGeom>
                <a:avLst/>
                <a:gdLst/>
                <a:ahLst/>
                <a:cxnLst/>
                <a:rect l="l" t="t" r="r" b="b"/>
                <a:pathLst>
                  <a:path w="71890" h="62357" extrusionOk="0">
                    <a:moveTo>
                      <a:pt x="48930" y="1"/>
                    </a:moveTo>
                    <a:lnTo>
                      <a:pt x="31258" y="3200"/>
                    </a:lnTo>
                    <a:lnTo>
                      <a:pt x="34457" y="20871"/>
                    </a:lnTo>
                    <a:lnTo>
                      <a:pt x="39334" y="13872"/>
                    </a:lnTo>
                    <a:cubicBezTo>
                      <a:pt x="40822" y="14885"/>
                      <a:pt x="42342" y="15867"/>
                      <a:pt x="43831" y="16849"/>
                    </a:cubicBezTo>
                    <a:cubicBezTo>
                      <a:pt x="53522" y="23246"/>
                      <a:pt x="63529" y="29833"/>
                      <a:pt x="63529" y="37782"/>
                    </a:cubicBezTo>
                    <a:cubicBezTo>
                      <a:pt x="63529" y="41836"/>
                      <a:pt x="60552" y="45319"/>
                      <a:pt x="54693" y="48169"/>
                    </a:cubicBezTo>
                    <a:cubicBezTo>
                      <a:pt x="47885" y="51495"/>
                      <a:pt x="37624" y="53585"/>
                      <a:pt x="26571" y="53933"/>
                    </a:cubicBezTo>
                    <a:cubicBezTo>
                      <a:pt x="25465" y="53968"/>
                      <a:pt x="24408" y="53984"/>
                      <a:pt x="23400" y="53984"/>
                    </a:cubicBezTo>
                    <a:cubicBezTo>
                      <a:pt x="17944" y="53984"/>
                      <a:pt x="13921" y="53513"/>
                      <a:pt x="11275" y="52951"/>
                    </a:cubicBezTo>
                    <a:cubicBezTo>
                      <a:pt x="12574" y="52508"/>
                      <a:pt x="14347" y="52001"/>
                      <a:pt x="16659" y="51526"/>
                    </a:cubicBezTo>
                    <a:cubicBezTo>
                      <a:pt x="22043" y="50449"/>
                      <a:pt x="28883" y="49848"/>
                      <a:pt x="35914" y="49816"/>
                    </a:cubicBezTo>
                    <a:cubicBezTo>
                      <a:pt x="37655" y="49816"/>
                      <a:pt x="39334" y="49879"/>
                      <a:pt x="40949" y="49943"/>
                    </a:cubicBezTo>
                    <a:lnTo>
                      <a:pt x="41297" y="41582"/>
                    </a:lnTo>
                    <a:cubicBezTo>
                      <a:pt x="39587" y="41519"/>
                      <a:pt x="37782" y="41456"/>
                      <a:pt x="35945" y="41456"/>
                    </a:cubicBezTo>
                    <a:cubicBezTo>
                      <a:pt x="27141" y="41456"/>
                      <a:pt x="18781" y="42342"/>
                      <a:pt x="12479" y="43894"/>
                    </a:cubicBezTo>
                    <a:cubicBezTo>
                      <a:pt x="9153" y="44717"/>
                      <a:pt x="6493" y="45699"/>
                      <a:pt x="4561" y="46839"/>
                    </a:cubicBezTo>
                    <a:cubicBezTo>
                      <a:pt x="793" y="49056"/>
                      <a:pt x="1" y="51685"/>
                      <a:pt x="1" y="53521"/>
                    </a:cubicBezTo>
                    <a:cubicBezTo>
                      <a:pt x="1" y="54788"/>
                      <a:pt x="444" y="57227"/>
                      <a:pt x="3548" y="59032"/>
                    </a:cubicBezTo>
                    <a:cubicBezTo>
                      <a:pt x="4910" y="59823"/>
                      <a:pt x="6620" y="60457"/>
                      <a:pt x="8837" y="60964"/>
                    </a:cubicBezTo>
                    <a:cubicBezTo>
                      <a:pt x="12637" y="61850"/>
                      <a:pt x="17862" y="62357"/>
                      <a:pt x="23499" y="62357"/>
                    </a:cubicBezTo>
                    <a:cubicBezTo>
                      <a:pt x="34615" y="62357"/>
                      <a:pt x="45763" y="60584"/>
                      <a:pt x="54092" y="57512"/>
                    </a:cubicBezTo>
                    <a:cubicBezTo>
                      <a:pt x="68818" y="52033"/>
                      <a:pt x="71890" y="43767"/>
                      <a:pt x="71890" y="37782"/>
                    </a:cubicBezTo>
                    <a:cubicBezTo>
                      <a:pt x="71890" y="32018"/>
                      <a:pt x="69261" y="26666"/>
                      <a:pt x="63814" y="21377"/>
                    </a:cubicBezTo>
                    <a:cubicBezTo>
                      <a:pt x="59444" y="17134"/>
                      <a:pt x="53838" y="13429"/>
                      <a:pt x="48423" y="9850"/>
                    </a:cubicBezTo>
                    <a:cubicBezTo>
                      <a:pt x="46903" y="8868"/>
                      <a:pt x="45478" y="7918"/>
                      <a:pt x="44084" y="7000"/>
                    </a:cubicBezTo>
                    <a:lnTo>
                      <a:pt x="48930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2" name="Google Shape;832;p27"/>
              <p:cNvSpPr/>
              <p:nvPr/>
            </p:nvSpPr>
            <p:spPr>
              <a:xfrm>
                <a:off x="8164149" y="4350565"/>
                <a:ext cx="55180" cy="40861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267" extrusionOk="0">
                    <a:moveTo>
                      <a:pt x="1425" y="0"/>
                    </a:moveTo>
                    <a:cubicBezTo>
                      <a:pt x="950" y="254"/>
                      <a:pt x="475" y="507"/>
                      <a:pt x="0" y="729"/>
                    </a:cubicBezTo>
                    <a:lnTo>
                      <a:pt x="254" y="1267"/>
                    </a:lnTo>
                    <a:cubicBezTo>
                      <a:pt x="760" y="1045"/>
                      <a:pt x="1235" y="792"/>
                      <a:pt x="1710" y="539"/>
                    </a:cubicBezTo>
                    <a:lnTo>
                      <a:pt x="1425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3" name="Google Shape;833;p27"/>
              <p:cNvSpPr/>
              <p:nvPr/>
            </p:nvSpPr>
            <p:spPr>
              <a:xfrm>
                <a:off x="8413345" y="4158549"/>
                <a:ext cx="48020" cy="52116"/>
              </a:xfrm>
              <a:custGeom>
                <a:avLst/>
                <a:gdLst/>
                <a:ahLst/>
                <a:cxnLst/>
                <a:rect l="l" t="t" r="r" b="b"/>
                <a:pathLst>
                  <a:path w="1489" h="1616" extrusionOk="0">
                    <a:moveTo>
                      <a:pt x="982" y="0"/>
                    </a:moveTo>
                    <a:cubicBezTo>
                      <a:pt x="697" y="412"/>
                      <a:pt x="349" y="824"/>
                      <a:pt x="0" y="1236"/>
                    </a:cubicBezTo>
                    <a:lnTo>
                      <a:pt x="444" y="1616"/>
                    </a:lnTo>
                    <a:cubicBezTo>
                      <a:pt x="824" y="1204"/>
                      <a:pt x="1172" y="792"/>
                      <a:pt x="1489" y="349"/>
                    </a:cubicBezTo>
                    <a:lnTo>
                      <a:pt x="98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4" name="Google Shape;834;p27"/>
              <p:cNvSpPr/>
              <p:nvPr/>
            </p:nvSpPr>
            <p:spPr>
              <a:xfrm>
                <a:off x="8254030" y="4297449"/>
                <a:ext cx="54148" cy="44957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1394" extrusionOk="0">
                    <a:moveTo>
                      <a:pt x="1362" y="0"/>
                    </a:moveTo>
                    <a:cubicBezTo>
                      <a:pt x="918" y="317"/>
                      <a:pt x="475" y="602"/>
                      <a:pt x="0" y="887"/>
                    </a:cubicBezTo>
                    <a:lnTo>
                      <a:pt x="317" y="1394"/>
                    </a:lnTo>
                    <a:cubicBezTo>
                      <a:pt x="792" y="1109"/>
                      <a:pt x="1235" y="792"/>
                      <a:pt x="1679" y="507"/>
                    </a:cubicBezTo>
                    <a:lnTo>
                      <a:pt x="136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5" name="Google Shape;835;p27"/>
              <p:cNvSpPr/>
              <p:nvPr/>
            </p:nvSpPr>
            <p:spPr>
              <a:xfrm>
                <a:off x="8402122" y="3628488"/>
                <a:ext cx="24542" cy="22478"/>
              </a:xfrm>
              <a:custGeom>
                <a:avLst/>
                <a:gdLst/>
                <a:ahLst/>
                <a:cxnLst/>
                <a:rect l="l" t="t" r="r" b="b"/>
                <a:pathLst>
                  <a:path w="761" h="697" extrusionOk="0">
                    <a:moveTo>
                      <a:pt x="475" y="0"/>
                    </a:moveTo>
                    <a:cubicBezTo>
                      <a:pt x="317" y="127"/>
                      <a:pt x="158" y="254"/>
                      <a:pt x="0" y="349"/>
                    </a:cubicBezTo>
                    <a:cubicBezTo>
                      <a:pt x="127" y="475"/>
                      <a:pt x="222" y="570"/>
                      <a:pt x="348" y="697"/>
                    </a:cubicBezTo>
                    <a:lnTo>
                      <a:pt x="760" y="254"/>
                    </a:lnTo>
                    <a:cubicBezTo>
                      <a:pt x="665" y="159"/>
                      <a:pt x="570" y="95"/>
                      <a:pt x="475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6" name="Google Shape;836;p27"/>
              <p:cNvSpPr/>
              <p:nvPr/>
            </p:nvSpPr>
            <p:spPr>
              <a:xfrm>
                <a:off x="8338783" y="4234110"/>
                <a:ext cx="52116" cy="48053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1490" extrusionOk="0">
                    <a:moveTo>
                      <a:pt x="1204" y="1"/>
                    </a:moveTo>
                    <a:cubicBezTo>
                      <a:pt x="824" y="349"/>
                      <a:pt x="412" y="698"/>
                      <a:pt x="1" y="1046"/>
                    </a:cubicBezTo>
                    <a:lnTo>
                      <a:pt x="381" y="1489"/>
                    </a:lnTo>
                    <a:cubicBezTo>
                      <a:pt x="792" y="1173"/>
                      <a:pt x="1236" y="793"/>
                      <a:pt x="1616" y="444"/>
                    </a:cubicBezTo>
                    <a:lnTo>
                      <a:pt x="120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7" name="Google Shape;837;p27"/>
              <p:cNvSpPr/>
              <p:nvPr/>
            </p:nvSpPr>
            <p:spPr>
              <a:xfrm>
                <a:off x="8069141" y="4395489"/>
                <a:ext cx="56212" cy="37829"/>
              </a:xfrm>
              <a:custGeom>
                <a:avLst/>
                <a:gdLst/>
                <a:ahLst/>
                <a:cxnLst/>
                <a:rect l="l" t="t" r="r" b="b"/>
                <a:pathLst>
                  <a:path w="1743" h="1173" extrusionOk="0">
                    <a:moveTo>
                      <a:pt x="1489" y="1"/>
                    </a:moveTo>
                    <a:cubicBezTo>
                      <a:pt x="1014" y="222"/>
                      <a:pt x="508" y="412"/>
                      <a:pt x="1" y="602"/>
                    </a:cubicBezTo>
                    <a:lnTo>
                      <a:pt x="223" y="1172"/>
                    </a:lnTo>
                    <a:cubicBezTo>
                      <a:pt x="729" y="982"/>
                      <a:pt x="1236" y="761"/>
                      <a:pt x="1743" y="539"/>
                    </a:cubicBezTo>
                    <a:lnTo>
                      <a:pt x="1489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8" name="Google Shape;838;p27"/>
              <p:cNvSpPr/>
              <p:nvPr/>
            </p:nvSpPr>
            <p:spPr>
              <a:xfrm>
                <a:off x="7671853" y="4513976"/>
                <a:ext cx="54180" cy="28606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87" extrusionOk="0">
                    <a:moveTo>
                      <a:pt x="1552" y="0"/>
                    </a:moveTo>
                    <a:cubicBezTo>
                      <a:pt x="1046" y="95"/>
                      <a:pt x="507" y="190"/>
                      <a:pt x="1" y="285"/>
                    </a:cubicBezTo>
                    <a:lnTo>
                      <a:pt x="96" y="887"/>
                    </a:lnTo>
                    <a:cubicBezTo>
                      <a:pt x="634" y="792"/>
                      <a:pt x="1141" y="665"/>
                      <a:pt x="1679" y="570"/>
                    </a:cubicBezTo>
                    <a:lnTo>
                      <a:pt x="155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39" name="Google Shape;839;p27"/>
              <p:cNvSpPr/>
              <p:nvPr/>
            </p:nvSpPr>
            <p:spPr>
              <a:xfrm>
                <a:off x="7972133" y="4433286"/>
                <a:ext cx="55180" cy="34765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078" extrusionOk="0">
                    <a:moveTo>
                      <a:pt x="1521" y="0"/>
                    </a:moveTo>
                    <a:cubicBezTo>
                      <a:pt x="1045" y="159"/>
                      <a:pt x="507" y="349"/>
                      <a:pt x="0" y="507"/>
                    </a:cubicBezTo>
                    <a:lnTo>
                      <a:pt x="190" y="1077"/>
                    </a:lnTo>
                    <a:cubicBezTo>
                      <a:pt x="697" y="919"/>
                      <a:pt x="1236" y="729"/>
                      <a:pt x="1711" y="570"/>
                    </a:cubicBezTo>
                    <a:lnTo>
                      <a:pt x="1521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0" name="Google Shape;840;p27"/>
              <p:cNvSpPr/>
              <p:nvPr/>
            </p:nvSpPr>
            <p:spPr>
              <a:xfrm>
                <a:off x="7569717" y="4532358"/>
                <a:ext cx="54180" cy="26574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24" extrusionOk="0">
                    <a:moveTo>
                      <a:pt x="1584" y="0"/>
                    </a:moveTo>
                    <a:cubicBezTo>
                      <a:pt x="1046" y="64"/>
                      <a:pt x="507" y="159"/>
                      <a:pt x="1" y="222"/>
                    </a:cubicBezTo>
                    <a:lnTo>
                      <a:pt x="64" y="824"/>
                    </a:lnTo>
                    <a:cubicBezTo>
                      <a:pt x="603" y="729"/>
                      <a:pt x="1141" y="665"/>
                      <a:pt x="1679" y="570"/>
                    </a:cubicBez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1" name="Google Shape;841;p27"/>
              <p:cNvSpPr/>
              <p:nvPr/>
            </p:nvSpPr>
            <p:spPr>
              <a:xfrm>
                <a:off x="7873061" y="4464956"/>
                <a:ext cx="55180" cy="32701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014" extrusionOk="0">
                    <a:moveTo>
                      <a:pt x="1552" y="0"/>
                    </a:moveTo>
                    <a:cubicBezTo>
                      <a:pt x="1046" y="127"/>
                      <a:pt x="539" y="285"/>
                      <a:pt x="1" y="412"/>
                    </a:cubicBezTo>
                    <a:lnTo>
                      <a:pt x="159" y="1013"/>
                    </a:lnTo>
                    <a:cubicBezTo>
                      <a:pt x="697" y="855"/>
                      <a:pt x="1204" y="728"/>
                      <a:pt x="1711" y="570"/>
                    </a:cubicBezTo>
                    <a:lnTo>
                      <a:pt x="155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2" name="Google Shape;842;p27"/>
              <p:cNvSpPr/>
              <p:nvPr/>
            </p:nvSpPr>
            <p:spPr>
              <a:xfrm>
                <a:off x="7772957" y="4491498"/>
                <a:ext cx="55212" cy="30670"/>
              </a:xfrm>
              <a:custGeom>
                <a:avLst/>
                <a:gdLst/>
                <a:ahLst/>
                <a:cxnLst/>
                <a:rect l="l" t="t" r="r" b="b"/>
                <a:pathLst>
                  <a:path w="1712" h="951" extrusionOk="0">
                    <a:moveTo>
                      <a:pt x="1553" y="0"/>
                    </a:moveTo>
                    <a:cubicBezTo>
                      <a:pt x="1046" y="127"/>
                      <a:pt x="539" y="254"/>
                      <a:pt x="1" y="349"/>
                    </a:cubicBezTo>
                    <a:lnTo>
                      <a:pt x="128" y="951"/>
                    </a:lnTo>
                    <a:cubicBezTo>
                      <a:pt x="666" y="824"/>
                      <a:pt x="1173" y="697"/>
                      <a:pt x="1711" y="571"/>
                    </a:cubicBezTo>
                    <a:lnTo>
                      <a:pt x="1553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3" name="Google Shape;843;p27"/>
              <p:cNvSpPr/>
              <p:nvPr/>
            </p:nvSpPr>
            <p:spPr>
              <a:xfrm>
                <a:off x="7466582" y="4546645"/>
                <a:ext cx="54148" cy="25574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793" extrusionOk="0">
                    <a:moveTo>
                      <a:pt x="1584" y="1"/>
                    </a:moveTo>
                    <a:cubicBezTo>
                      <a:pt x="1077" y="64"/>
                      <a:pt x="539" y="127"/>
                      <a:pt x="0" y="191"/>
                    </a:cubicBezTo>
                    <a:lnTo>
                      <a:pt x="64" y="792"/>
                    </a:lnTo>
                    <a:cubicBezTo>
                      <a:pt x="602" y="729"/>
                      <a:pt x="1140" y="666"/>
                      <a:pt x="1679" y="602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4" name="Google Shape;844;p27"/>
              <p:cNvSpPr/>
              <p:nvPr/>
            </p:nvSpPr>
            <p:spPr>
              <a:xfrm>
                <a:off x="7690235" y="3411961"/>
                <a:ext cx="53148" cy="22511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698" extrusionOk="0">
                    <a:moveTo>
                      <a:pt x="32" y="0"/>
                    </a:moveTo>
                    <a:lnTo>
                      <a:pt x="1" y="602"/>
                    </a:lnTo>
                    <a:cubicBezTo>
                      <a:pt x="539" y="634"/>
                      <a:pt x="1077" y="666"/>
                      <a:pt x="1616" y="697"/>
                    </a:cubicBezTo>
                    <a:lnTo>
                      <a:pt x="1648" y="95"/>
                    </a:lnTo>
                    <a:cubicBezTo>
                      <a:pt x="1141" y="64"/>
                      <a:pt x="571" y="32"/>
                      <a:pt x="3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5" name="Google Shape;845;p27"/>
              <p:cNvSpPr/>
              <p:nvPr/>
            </p:nvSpPr>
            <p:spPr>
              <a:xfrm>
                <a:off x="7587100" y="3407865"/>
                <a:ext cx="52116" cy="21479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66" extrusionOk="0">
                    <a:moveTo>
                      <a:pt x="0" y="1"/>
                    </a:moveTo>
                    <a:lnTo>
                      <a:pt x="0" y="602"/>
                    </a:lnTo>
                    <a:cubicBezTo>
                      <a:pt x="539" y="634"/>
                      <a:pt x="1077" y="634"/>
                      <a:pt x="1615" y="666"/>
                    </a:cubicBezTo>
                    <a:lnTo>
                      <a:pt x="1615" y="64"/>
                    </a:lnTo>
                    <a:cubicBezTo>
                      <a:pt x="1077" y="32"/>
                      <a:pt x="539" y="32"/>
                      <a:pt x="0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6" name="Google Shape;846;p27"/>
              <p:cNvSpPr/>
              <p:nvPr/>
            </p:nvSpPr>
            <p:spPr>
              <a:xfrm>
                <a:off x="7793403" y="3419121"/>
                <a:ext cx="54148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761" extrusionOk="0">
                    <a:moveTo>
                      <a:pt x="64" y="0"/>
                    </a:moveTo>
                    <a:lnTo>
                      <a:pt x="0" y="602"/>
                    </a:lnTo>
                    <a:cubicBezTo>
                      <a:pt x="539" y="634"/>
                      <a:pt x="1077" y="697"/>
                      <a:pt x="1584" y="760"/>
                    </a:cubicBezTo>
                    <a:lnTo>
                      <a:pt x="1679" y="158"/>
                    </a:lnTo>
                    <a:cubicBezTo>
                      <a:pt x="1140" y="95"/>
                      <a:pt x="602" y="63"/>
                      <a:pt x="64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7" name="Google Shape;847;p27"/>
              <p:cNvSpPr/>
              <p:nvPr/>
            </p:nvSpPr>
            <p:spPr>
              <a:xfrm>
                <a:off x="8472588" y="4070700"/>
                <a:ext cx="39861" cy="55212"/>
              </a:xfrm>
              <a:custGeom>
                <a:avLst/>
                <a:gdLst/>
                <a:ahLst/>
                <a:cxnLst/>
                <a:rect l="l" t="t" r="r" b="b"/>
                <a:pathLst>
                  <a:path w="1236" h="1712" extrusionOk="0">
                    <a:moveTo>
                      <a:pt x="697" y="1"/>
                    </a:moveTo>
                    <a:cubicBezTo>
                      <a:pt x="507" y="476"/>
                      <a:pt x="254" y="951"/>
                      <a:pt x="0" y="1426"/>
                    </a:cubicBezTo>
                    <a:lnTo>
                      <a:pt x="539" y="1711"/>
                    </a:lnTo>
                    <a:cubicBezTo>
                      <a:pt x="792" y="1236"/>
                      <a:pt x="1045" y="729"/>
                      <a:pt x="1235" y="254"/>
                    </a:cubicBezTo>
                    <a:lnTo>
                      <a:pt x="697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8" name="Google Shape;848;p27"/>
              <p:cNvSpPr/>
              <p:nvPr/>
            </p:nvSpPr>
            <p:spPr>
              <a:xfrm>
                <a:off x="8447046" y="3676476"/>
                <a:ext cx="43957" cy="54180"/>
              </a:xfrm>
              <a:custGeom>
                <a:avLst/>
                <a:gdLst/>
                <a:ahLst/>
                <a:cxnLst/>
                <a:rect l="l" t="t" r="r" b="b"/>
                <a:pathLst>
                  <a:path w="1363" h="1680" extrusionOk="0">
                    <a:moveTo>
                      <a:pt x="444" y="1"/>
                    </a:moveTo>
                    <a:lnTo>
                      <a:pt x="1" y="381"/>
                    </a:lnTo>
                    <a:cubicBezTo>
                      <a:pt x="317" y="792"/>
                      <a:pt x="602" y="1204"/>
                      <a:pt x="856" y="1679"/>
                    </a:cubicBezTo>
                    <a:lnTo>
                      <a:pt x="1362" y="1362"/>
                    </a:lnTo>
                    <a:cubicBezTo>
                      <a:pt x="1109" y="887"/>
                      <a:pt x="792" y="444"/>
                      <a:pt x="444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49" name="Google Shape;849;p27"/>
              <p:cNvSpPr/>
              <p:nvPr/>
            </p:nvSpPr>
            <p:spPr>
              <a:xfrm>
                <a:off x="8496066" y="3768388"/>
                <a:ext cx="34765" cy="55212"/>
              </a:xfrm>
              <a:custGeom>
                <a:avLst/>
                <a:gdLst/>
                <a:ahLst/>
                <a:cxnLst/>
                <a:rect l="l" t="t" r="r" b="b"/>
                <a:pathLst>
                  <a:path w="1078" h="1712" extrusionOk="0">
                    <a:moveTo>
                      <a:pt x="571" y="1"/>
                    </a:moveTo>
                    <a:lnTo>
                      <a:pt x="1" y="223"/>
                    </a:lnTo>
                    <a:cubicBezTo>
                      <a:pt x="191" y="698"/>
                      <a:pt x="349" y="1204"/>
                      <a:pt x="476" y="1711"/>
                    </a:cubicBezTo>
                    <a:lnTo>
                      <a:pt x="1077" y="1553"/>
                    </a:lnTo>
                    <a:cubicBezTo>
                      <a:pt x="919" y="1014"/>
                      <a:pt x="761" y="508"/>
                      <a:pt x="571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0" name="Google Shape;850;p27"/>
              <p:cNvSpPr/>
              <p:nvPr/>
            </p:nvSpPr>
            <p:spPr>
              <a:xfrm>
                <a:off x="8511385" y="3973692"/>
                <a:ext cx="28638" cy="54148"/>
              </a:xfrm>
              <a:custGeom>
                <a:avLst/>
                <a:gdLst/>
                <a:ahLst/>
                <a:cxnLst/>
                <a:rect l="l" t="t" r="r" b="b"/>
                <a:pathLst>
                  <a:path w="888" h="1679" extrusionOk="0">
                    <a:moveTo>
                      <a:pt x="286" y="0"/>
                    </a:moveTo>
                    <a:cubicBezTo>
                      <a:pt x="222" y="539"/>
                      <a:pt x="127" y="1045"/>
                      <a:pt x="1" y="1552"/>
                    </a:cubicBezTo>
                    <a:lnTo>
                      <a:pt x="571" y="1679"/>
                    </a:lnTo>
                    <a:cubicBezTo>
                      <a:pt x="697" y="1172"/>
                      <a:pt x="824" y="634"/>
                      <a:pt x="887" y="95"/>
                    </a:cubicBezTo>
                    <a:lnTo>
                      <a:pt x="28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1" name="Google Shape;851;p27"/>
              <p:cNvSpPr/>
              <p:nvPr/>
            </p:nvSpPr>
            <p:spPr>
              <a:xfrm>
                <a:off x="8520576" y="3870524"/>
                <a:ext cx="22510" cy="53148"/>
              </a:xfrm>
              <a:custGeom>
                <a:avLst/>
                <a:gdLst/>
                <a:ahLst/>
                <a:cxnLst/>
                <a:rect l="l" t="t" r="r" b="b"/>
                <a:pathLst>
                  <a:path w="698" h="1648" extrusionOk="0">
                    <a:moveTo>
                      <a:pt x="602" y="1"/>
                    </a:moveTo>
                    <a:lnTo>
                      <a:pt x="1" y="64"/>
                    </a:lnTo>
                    <a:cubicBezTo>
                      <a:pt x="64" y="571"/>
                      <a:pt x="96" y="1109"/>
                      <a:pt x="96" y="1648"/>
                    </a:cubicBezTo>
                    <a:lnTo>
                      <a:pt x="697" y="1648"/>
                    </a:lnTo>
                    <a:cubicBezTo>
                      <a:pt x="697" y="1078"/>
                      <a:pt x="666" y="539"/>
                      <a:pt x="602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2" name="Google Shape;852;p27"/>
              <p:cNvSpPr/>
              <p:nvPr/>
            </p:nvSpPr>
            <p:spPr>
              <a:xfrm>
                <a:off x="7896539" y="3430344"/>
                <a:ext cx="54180" cy="26574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24" extrusionOk="0">
                    <a:moveTo>
                      <a:pt x="64" y="1"/>
                    </a:moveTo>
                    <a:lnTo>
                      <a:pt x="1" y="602"/>
                    </a:lnTo>
                    <a:cubicBezTo>
                      <a:pt x="539" y="666"/>
                      <a:pt x="1046" y="761"/>
                      <a:pt x="1584" y="824"/>
                    </a:cubicBezTo>
                    <a:lnTo>
                      <a:pt x="1679" y="254"/>
                    </a:lnTo>
                    <a:cubicBezTo>
                      <a:pt x="1141" y="159"/>
                      <a:pt x="603" y="64"/>
                      <a:pt x="64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3" name="Google Shape;853;p27"/>
              <p:cNvSpPr/>
              <p:nvPr/>
            </p:nvSpPr>
            <p:spPr>
              <a:xfrm>
                <a:off x="7997675" y="3447694"/>
                <a:ext cx="55180" cy="28638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888" extrusionOk="0">
                    <a:moveTo>
                      <a:pt x="127" y="1"/>
                    </a:moveTo>
                    <a:lnTo>
                      <a:pt x="0" y="571"/>
                    </a:lnTo>
                    <a:cubicBezTo>
                      <a:pt x="539" y="666"/>
                      <a:pt x="1077" y="793"/>
                      <a:pt x="1584" y="888"/>
                    </a:cubicBezTo>
                    <a:lnTo>
                      <a:pt x="1710" y="318"/>
                    </a:lnTo>
                    <a:cubicBezTo>
                      <a:pt x="1204" y="191"/>
                      <a:pt x="665" y="96"/>
                      <a:pt x="127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4" name="Google Shape;854;p27"/>
              <p:cNvSpPr/>
              <p:nvPr/>
            </p:nvSpPr>
            <p:spPr>
              <a:xfrm>
                <a:off x="8098778" y="3470172"/>
                <a:ext cx="45988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426" h="761" extrusionOk="0">
                    <a:moveTo>
                      <a:pt x="127" y="1"/>
                    </a:moveTo>
                    <a:lnTo>
                      <a:pt x="0" y="571"/>
                    </a:lnTo>
                    <a:cubicBezTo>
                      <a:pt x="222" y="634"/>
                      <a:pt x="444" y="697"/>
                      <a:pt x="665" y="761"/>
                    </a:cubicBezTo>
                    <a:cubicBezTo>
                      <a:pt x="919" y="634"/>
                      <a:pt x="1172" y="507"/>
                      <a:pt x="1425" y="381"/>
                    </a:cubicBezTo>
                    <a:cubicBezTo>
                      <a:pt x="1014" y="254"/>
                      <a:pt x="570" y="127"/>
                      <a:pt x="127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5" name="Google Shape;855;p27"/>
              <p:cNvSpPr/>
              <p:nvPr/>
            </p:nvSpPr>
            <p:spPr>
              <a:xfrm>
                <a:off x="7363414" y="4557868"/>
                <a:ext cx="54180" cy="23543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730" extrusionOk="0">
                    <a:moveTo>
                      <a:pt x="1616" y="1"/>
                    </a:moveTo>
                    <a:cubicBezTo>
                      <a:pt x="1077" y="64"/>
                      <a:pt x="539" y="96"/>
                      <a:pt x="1" y="128"/>
                    </a:cubicBezTo>
                    <a:lnTo>
                      <a:pt x="64" y="729"/>
                    </a:lnTo>
                    <a:cubicBezTo>
                      <a:pt x="602" y="698"/>
                      <a:pt x="1141" y="634"/>
                      <a:pt x="1679" y="603"/>
                    </a:cubicBezTo>
                    <a:lnTo>
                      <a:pt x="1616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6" name="Google Shape;856;p27"/>
              <p:cNvSpPr/>
              <p:nvPr/>
            </p:nvSpPr>
            <p:spPr>
              <a:xfrm>
                <a:off x="6120467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0" y="0"/>
                    </a:moveTo>
                    <a:lnTo>
                      <a:pt x="0" y="602"/>
                    </a:lnTo>
                    <a:lnTo>
                      <a:pt x="1616" y="602"/>
                    </a:lnTo>
                    <a:lnTo>
                      <a:pt x="161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7" name="Google Shape;857;p27"/>
              <p:cNvSpPr/>
              <p:nvPr/>
            </p:nvSpPr>
            <p:spPr>
              <a:xfrm>
                <a:off x="7052943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0" y="0"/>
                    </a:moveTo>
                    <a:lnTo>
                      <a:pt x="0" y="602"/>
                    </a:lnTo>
                    <a:lnTo>
                      <a:pt x="1615" y="602"/>
                    </a:lnTo>
                    <a:lnTo>
                      <a:pt x="1615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8" name="Google Shape;858;p27"/>
              <p:cNvSpPr/>
              <p:nvPr/>
            </p:nvSpPr>
            <p:spPr>
              <a:xfrm>
                <a:off x="6224634" y="4572187"/>
                <a:ext cx="51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603" extrusionOk="0">
                    <a:moveTo>
                      <a:pt x="1" y="0"/>
                    </a:moveTo>
                    <a:lnTo>
                      <a:pt x="1" y="602"/>
                    </a:lnTo>
                    <a:lnTo>
                      <a:pt x="1584" y="602"/>
                    </a:ln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9" name="Google Shape;859;p27"/>
              <p:cNvSpPr/>
              <p:nvPr/>
            </p:nvSpPr>
            <p:spPr>
              <a:xfrm>
                <a:off x="6846640" y="4572187"/>
                <a:ext cx="51084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603" extrusionOk="0">
                    <a:moveTo>
                      <a:pt x="0" y="0"/>
                    </a:moveTo>
                    <a:lnTo>
                      <a:pt x="0" y="602"/>
                    </a:lnTo>
                    <a:lnTo>
                      <a:pt x="1584" y="602"/>
                    </a:ln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0" name="Google Shape;860;p27"/>
              <p:cNvSpPr/>
              <p:nvPr/>
            </p:nvSpPr>
            <p:spPr>
              <a:xfrm>
                <a:off x="7157111" y="4571155"/>
                <a:ext cx="52116" cy="20479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35" extrusionOk="0">
                    <a:moveTo>
                      <a:pt x="1616" y="1"/>
                    </a:moveTo>
                    <a:cubicBezTo>
                      <a:pt x="1077" y="1"/>
                      <a:pt x="539" y="32"/>
                      <a:pt x="0" y="32"/>
                    </a:cubicBezTo>
                    <a:lnTo>
                      <a:pt x="0" y="634"/>
                    </a:lnTo>
                    <a:cubicBezTo>
                      <a:pt x="539" y="602"/>
                      <a:pt x="1077" y="602"/>
                      <a:pt x="1616" y="602"/>
                    </a:cubicBezTo>
                    <a:lnTo>
                      <a:pt x="1616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1" name="Google Shape;861;p27"/>
              <p:cNvSpPr/>
              <p:nvPr/>
            </p:nvSpPr>
            <p:spPr>
              <a:xfrm>
                <a:off x="7260278" y="4566060"/>
                <a:ext cx="53116" cy="22511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698" extrusionOk="0">
                    <a:moveTo>
                      <a:pt x="1615" y="0"/>
                    </a:moveTo>
                    <a:cubicBezTo>
                      <a:pt x="1077" y="32"/>
                      <a:pt x="538" y="64"/>
                      <a:pt x="0" y="95"/>
                    </a:cubicBezTo>
                    <a:lnTo>
                      <a:pt x="32" y="697"/>
                    </a:lnTo>
                    <a:cubicBezTo>
                      <a:pt x="570" y="665"/>
                      <a:pt x="1108" y="634"/>
                      <a:pt x="1647" y="602"/>
                    </a:cubicBezTo>
                    <a:lnTo>
                      <a:pt x="1615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2" name="Google Shape;862;p27"/>
              <p:cNvSpPr/>
              <p:nvPr/>
            </p:nvSpPr>
            <p:spPr>
              <a:xfrm>
                <a:off x="6949775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1" y="0"/>
                    </a:moveTo>
                    <a:lnTo>
                      <a:pt x="1" y="602"/>
                    </a:lnTo>
                    <a:lnTo>
                      <a:pt x="1616" y="602"/>
                    </a:lnTo>
                    <a:lnTo>
                      <a:pt x="161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3" name="Google Shape;863;p27"/>
              <p:cNvSpPr/>
              <p:nvPr/>
            </p:nvSpPr>
            <p:spPr>
              <a:xfrm>
                <a:off x="6327802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0" y="0"/>
                    </a:moveTo>
                    <a:lnTo>
                      <a:pt x="0" y="602"/>
                    </a:lnTo>
                    <a:lnTo>
                      <a:pt x="1615" y="602"/>
                    </a:lnTo>
                    <a:lnTo>
                      <a:pt x="1615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4" name="Google Shape;864;p27"/>
              <p:cNvSpPr/>
              <p:nvPr/>
            </p:nvSpPr>
            <p:spPr>
              <a:xfrm>
                <a:off x="6430937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1" y="0"/>
                    </a:moveTo>
                    <a:lnTo>
                      <a:pt x="1" y="602"/>
                    </a:lnTo>
                    <a:lnTo>
                      <a:pt x="1616" y="602"/>
                    </a:lnTo>
                    <a:lnTo>
                      <a:pt x="161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5" name="Google Shape;865;p27"/>
              <p:cNvSpPr/>
              <p:nvPr/>
            </p:nvSpPr>
            <p:spPr>
              <a:xfrm>
                <a:off x="6639305" y="4572187"/>
                <a:ext cx="51084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603" extrusionOk="0">
                    <a:moveTo>
                      <a:pt x="0" y="0"/>
                    </a:moveTo>
                    <a:lnTo>
                      <a:pt x="0" y="602"/>
                    </a:lnTo>
                    <a:lnTo>
                      <a:pt x="1584" y="602"/>
                    </a:ln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6" name="Google Shape;866;p27"/>
              <p:cNvSpPr/>
              <p:nvPr/>
            </p:nvSpPr>
            <p:spPr>
              <a:xfrm>
                <a:off x="6742440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1" y="0"/>
                    </a:moveTo>
                    <a:lnTo>
                      <a:pt x="1" y="602"/>
                    </a:lnTo>
                    <a:lnTo>
                      <a:pt x="1616" y="602"/>
                    </a:lnTo>
                    <a:lnTo>
                      <a:pt x="161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7" name="Google Shape;867;p27"/>
              <p:cNvSpPr/>
              <p:nvPr/>
            </p:nvSpPr>
            <p:spPr>
              <a:xfrm>
                <a:off x="6535137" y="4572187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0" y="0"/>
                    </a:moveTo>
                    <a:lnTo>
                      <a:pt x="0" y="602"/>
                    </a:lnTo>
                    <a:lnTo>
                      <a:pt x="1615" y="602"/>
                    </a:lnTo>
                    <a:lnTo>
                      <a:pt x="1615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8" name="Google Shape;868;p27"/>
              <p:cNvSpPr/>
              <p:nvPr/>
            </p:nvSpPr>
            <p:spPr>
              <a:xfrm>
                <a:off x="7482900" y="3407865"/>
                <a:ext cx="51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603" extrusionOk="0">
                    <a:moveTo>
                      <a:pt x="1" y="1"/>
                    </a:moveTo>
                    <a:lnTo>
                      <a:pt x="1" y="602"/>
                    </a:lnTo>
                    <a:cubicBezTo>
                      <a:pt x="286" y="602"/>
                      <a:pt x="539" y="571"/>
                      <a:pt x="793" y="571"/>
                    </a:cubicBezTo>
                    <a:cubicBezTo>
                      <a:pt x="1078" y="571"/>
                      <a:pt x="1331" y="571"/>
                      <a:pt x="1584" y="602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69" name="Google Shape;869;p27"/>
              <p:cNvSpPr/>
              <p:nvPr/>
            </p:nvSpPr>
            <p:spPr>
              <a:xfrm>
                <a:off x="7581972" y="3768388"/>
                <a:ext cx="54180" cy="27606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56" extrusionOk="0">
                    <a:moveTo>
                      <a:pt x="1584" y="1"/>
                    </a:moveTo>
                    <a:cubicBezTo>
                      <a:pt x="1046" y="96"/>
                      <a:pt x="508" y="191"/>
                      <a:pt x="1" y="254"/>
                    </a:cubicBezTo>
                    <a:lnTo>
                      <a:pt x="64" y="856"/>
                    </a:lnTo>
                    <a:cubicBezTo>
                      <a:pt x="603" y="761"/>
                      <a:pt x="1141" y="698"/>
                      <a:pt x="1679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0" name="Google Shape;870;p27"/>
              <p:cNvSpPr/>
              <p:nvPr/>
            </p:nvSpPr>
            <p:spPr>
              <a:xfrm>
                <a:off x="7982356" y="3668316"/>
                <a:ext cx="55180" cy="34765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078" extrusionOk="0">
                    <a:moveTo>
                      <a:pt x="1489" y="0"/>
                    </a:moveTo>
                    <a:cubicBezTo>
                      <a:pt x="1014" y="190"/>
                      <a:pt x="507" y="349"/>
                      <a:pt x="0" y="507"/>
                    </a:cubicBezTo>
                    <a:lnTo>
                      <a:pt x="190" y="1077"/>
                    </a:lnTo>
                    <a:cubicBezTo>
                      <a:pt x="697" y="919"/>
                      <a:pt x="1204" y="760"/>
                      <a:pt x="1710" y="570"/>
                    </a:cubicBezTo>
                    <a:lnTo>
                      <a:pt x="1489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1" name="Google Shape;871;p27"/>
              <p:cNvSpPr/>
              <p:nvPr/>
            </p:nvSpPr>
            <p:spPr>
              <a:xfrm>
                <a:off x="7897571" y="1907563"/>
                <a:ext cx="53148" cy="26574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824" extrusionOk="0">
                    <a:moveTo>
                      <a:pt x="64" y="0"/>
                    </a:moveTo>
                    <a:lnTo>
                      <a:pt x="1" y="602"/>
                    </a:lnTo>
                    <a:cubicBezTo>
                      <a:pt x="507" y="665"/>
                      <a:pt x="1046" y="760"/>
                      <a:pt x="1552" y="824"/>
                    </a:cubicBezTo>
                    <a:lnTo>
                      <a:pt x="1647" y="222"/>
                    </a:lnTo>
                    <a:cubicBezTo>
                      <a:pt x="1141" y="159"/>
                      <a:pt x="602" y="64"/>
                      <a:pt x="64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2" name="Google Shape;872;p27"/>
              <p:cNvSpPr/>
              <p:nvPr/>
            </p:nvSpPr>
            <p:spPr>
              <a:xfrm>
                <a:off x="7895539" y="2669469"/>
                <a:ext cx="54148" cy="26574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824" extrusionOk="0">
                    <a:moveTo>
                      <a:pt x="95" y="0"/>
                    </a:moveTo>
                    <a:lnTo>
                      <a:pt x="0" y="570"/>
                    </a:lnTo>
                    <a:cubicBezTo>
                      <a:pt x="539" y="665"/>
                      <a:pt x="1077" y="729"/>
                      <a:pt x="1584" y="824"/>
                    </a:cubicBezTo>
                    <a:lnTo>
                      <a:pt x="1679" y="222"/>
                    </a:lnTo>
                    <a:cubicBezTo>
                      <a:pt x="1140" y="127"/>
                      <a:pt x="634" y="64"/>
                      <a:pt x="95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3" name="Google Shape;873;p27"/>
              <p:cNvSpPr/>
              <p:nvPr/>
            </p:nvSpPr>
            <p:spPr>
              <a:xfrm>
                <a:off x="7996643" y="2685788"/>
                <a:ext cx="55180" cy="28638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888" extrusionOk="0">
                    <a:moveTo>
                      <a:pt x="127" y="1"/>
                    </a:moveTo>
                    <a:lnTo>
                      <a:pt x="0" y="571"/>
                    </a:lnTo>
                    <a:cubicBezTo>
                      <a:pt x="539" y="666"/>
                      <a:pt x="1046" y="793"/>
                      <a:pt x="1552" y="888"/>
                    </a:cubicBezTo>
                    <a:lnTo>
                      <a:pt x="1711" y="318"/>
                    </a:lnTo>
                    <a:cubicBezTo>
                      <a:pt x="1204" y="191"/>
                      <a:pt x="666" y="96"/>
                      <a:pt x="127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4" name="Google Shape;874;p27"/>
              <p:cNvSpPr/>
              <p:nvPr/>
            </p:nvSpPr>
            <p:spPr>
              <a:xfrm>
                <a:off x="7884284" y="3700986"/>
                <a:ext cx="54180" cy="32734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1015" extrusionOk="0">
                    <a:moveTo>
                      <a:pt x="1521" y="1"/>
                    </a:moveTo>
                    <a:cubicBezTo>
                      <a:pt x="1014" y="127"/>
                      <a:pt x="508" y="286"/>
                      <a:pt x="1" y="412"/>
                    </a:cubicBezTo>
                    <a:lnTo>
                      <a:pt x="159" y="1014"/>
                    </a:lnTo>
                    <a:cubicBezTo>
                      <a:pt x="666" y="856"/>
                      <a:pt x="1204" y="697"/>
                      <a:pt x="1679" y="571"/>
                    </a:cubicBezTo>
                    <a:lnTo>
                      <a:pt x="1521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5" name="Google Shape;875;p27"/>
              <p:cNvSpPr/>
              <p:nvPr/>
            </p:nvSpPr>
            <p:spPr>
              <a:xfrm>
                <a:off x="8170277" y="2824689"/>
                <a:ext cx="54148" cy="40893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1268" extrusionOk="0">
                    <a:moveTo>
                      <a:pt x="1394" y="1"/>
                    </a:moveTo>
                    <a:cubicBezTo>
                      <a:pt x="950" y="254"/>
                      <a:pt x="475" y="508"/>
                      <a:pt x="0" y="729"/>
                    </a:cubicBezTo>
                    <a:lnTo>
                      <a:pt x="254" y="1268"/>
                    </a:lnTo>
                    <a:cubicBezTo>
                      <a:pt x="760" y="1046"/>
                      <a:pt x="1235" y="793"/>
                      <a:pt x="1679" y="539"/>
                    </a:cubicBezTo>
                    <a:lnTo>
                      <a:pt x="139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6" name="Google Shape;876;p27"/>
              <p:cNvSpPr/>
              <p:nvPr/>
            </p:nvSpPr>
            <p:spPr>
              <a:xfrm>
                <a:off x="8258093" y="2773637"/>
                <a:ext cx="55180" cy="41893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299" extrusionOk="0">
                    <a:moveTo>
                      <a:pt x="1394" y="0"/>
                    </a:moveTo>
                    <a:cubicBezTo>
                      <a:pt x="951" y="254"/>
                      <a:pt x="476" y="539"/>
                      <a:pt x="1" y="792"/>
                    </a:cubicBezTo>
                    <a:lnTo>
                      <a:pt x="286" y="1299"/>
                    </a:lnTo>
                    <a:cubicBezTo>
                      <a:pt x="761" y="1045"/>
                      <a:pt x="1236" y="792"/>
                      <a:pt x="1711" y="507"/>
                    </a:cubicBezTo>
                    <a:lnTo>
                      <a:pt x="139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7" name="Google Shape;877;p27"/>
              <p:cNvSpPr/>
              <p:nvPr/>
            </p:nvSpPr>
            <p:spPr>
              <a:xfrm>
                <a:off x="7998674" y="1923882"/>
                <a:ext cx="54180" cy="29670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920" extrusionOk="0">
                    <a:moveTo>
                      <a:pt x="96" y="1"/>
                    </a:moveTo>
                    <a:lnTo>
                      <a:pt x="1" y="603"/>
                    </a:lnTo>
                    <a:cubicBezTo>
                      <a:pt x="508" y="698"/>
                      <a:pt x="1046" y="824"/>
                      <a:pt x="1553" y="919"/>
                    </a:cubicBezTo>
                    <a:lnTo>
                      <a:pt x="1679" y="349"/>
                    </a:lnTo>
                    <a:cubicBezTo>
                      <a:pt x="1173" y="223"/>
                      <a:pt x="634" y="128"/>
                      <a:pt x="96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8" name="Google Shape;878;p27"/>
              <p:cNvSpPr/>
              <p:nvPr/>
            </p:nvSpPr>
            <p:spPr>
              <a:xfrm>
                <a:off x="8172308" y="3585595"/>
                <a:ext cx="55180" cy="40861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267" extrusionOk="0">
                    <a:moveTo>
                      <a:pt x="1426" y="0"/>
                    </a:moveTo>
                    <a:cubicBezTo>
                      <a:pt x="951" y="254"/>
                      <a:pt x="507" y="475"/>
                      <a:pt x="1" y="729"/>
                    </a:cubicBezTo>
                    <a:lnTo>
                      <a:pt x="254" y="1267"/>
                    </a:lnTo>
                    <a:cubicBezTo>
                      <a:pt x="761" y="1014"/>
                      <a:pt x="1236" y="760"/>
                      <a:pt x="1711" y="507"/>
                    </a:cubicBezTo>
                    <a:lnTo>
                      <a:pt x="142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79" name="Google Shape;879;p27"/>
              <p:cNvSpPr/>
              <p:nvPr/>
            </p:nvSpPr>
            <p:spPr>
              <a:xfrm>
                <a:off x="8076300" y="2869645"/>
                <a:ext cx="55180" cy="37829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173" extrusionOk="0">
                    <a:moveTo>
                      <a:pt x="1457" y="0"/>
                    </a:moveTo>
                    <a:cubicBezTo>
                      <a:pt x="982" y="222"/>
                      <a:pt x="507" y="412"/>
                      <a:pt x="1" y="634"/>
                    </a:cubicBezTo>
                    <a:lnTo>
                      <a:pt x="222" y="1172"/>
                    </a:lnTo>
                    <a:cubicBezTo>
                      <a:pt x="729" y="982"/>
                      <a:pt x="1204" y="760"/>
                      <a:pt x="1711" y="539"/>
                    </a:cubicBezTo>
                    <a:lnTo>
                      <a:pt x="1457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0" name="Google Shape;880;p27"/>
              <p:cNvSpPr/>
              <p:nvPr/>
            </p:nvSpPr>
            <p:spPr>
              <a:xfrm>
                <a:off x="8079364" y="3630519"/>
                <a:ext cx="54180" cy="37829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1173" extrusionOk="0">
                    <a:moveTo>
                      <a:pt x="1457" y="1"/>
                    </a:moveTo>
                    <a:cubicBezTo>
                      <a:pt x="982" y="222"/>
                      <a:pt x="476" y="412"/>
                      <a:pt x="1" y="602"/>
                    </a:cubicBezTo>
                    <a:lnTo>
                      <a:pt x="222" y="1172"/>
                    </a:lnTo>
                    <a:cubicBezTo>
                      <a:pt x="697" y="982"/>
                      <a:pt x="1204" y="761"/>
                      <a:pt x="1679" y="539"/>
                    </a:cubicBezTo>
                    <a:lnTo>
                      <a:pt x="1457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1" name="Google Shape;881;p27"/>
              <p:cNvSpPr/>
              <p:nvPr/>
            </p:nvSpPr>
            <p:spPr>
              <a:xfrm>
                <a:off x="7692299" y="1889181"/>
                <a:ext cx="53116" cy="22478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697" extrusionOk="0">
                    <a:moveTo>
                      <a:pt x="32" y="0"/>
                    </a:moveTo>
                    <a:lnTo>
                      <a:pt x="0" y="602"/>
                    </a:lnTo>
                    <a:cubicBezTo>
                      <a:pt x="538" y="634"/>
                      <a:pt x="1077" y="665"/>
                      <a:pt x="1584" y="697"/>
                    </a:cubicBezTo>
                    <a:lnTo>
                      <a:pt x="1647" y="95"/>
                    </a:lnTo>
                    <a:cubicBezTo>
                      <a:pt x="1108" y="63"/>
                      <a:pt x="570" y="32"/>
                      <a:pt x="3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2" name="Google Shape;882;p27"/>
              <p:cNvSpPr/>
              <p:nvPr/>
            </p:nvSpPr>
            <p:spPr>
              <a:xfrm>
                <a:off x="7683108" y="3750006"/>
                <a:ext cx="54148" cy="28638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888" extrusionOk="0">
                    <a:moveTo>
                      <a:pt x="1584" y="1"/>
                    </a:moveTo>
                    <a:cubicBezTo>
                      <a:pt x="1077" y="96"/>
                      <a:pt x="538" y="223"/>
                      <a:pt x="0" y="318"/>
                    </a:cubicBezTo>
                    <a:lnTo>
                      <a:pt x="127" y="888"/>
                    </a:lnTo>
                    <a:cubicBezTo>
                      <a:pt x="633" y="793"/>
                      <a:pt x="1172" y="698"/>
                      <a:pt x="1679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3" name="Google Shape;883;p27"/>
              <p:cNvSpPr/>
              <p:nvPr/>
            </p:nvSpPr>
            <p:spPr>
              <a:xfrm>
                <a:off x="7881220" y="2939079"/>
                <a:ext cx="55180" cy="32734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015" extrusionOk="0">
                    <a:moveTo>
                      <a:pt x="1521" y="1"/>
                    </a:moveTo>
                    <a:cubicBezTo>
                      <a:pt x="1046" y="159"/>
                      <a:pt x="508" y="317"/>
                      <a:pt x="1" y="444"/>
                    </a:cubicBezTo>
                    <a:lnTo>
                      <a:pt x="159" y="1014"/>
                    </a:lnTo>
                    <a:cubicBezTo>
                      <a:pt x="666" y="887"/>
                      <a:pt x="1204" y="729"/>
                      <a:pt x="1711" y="602"/>
                    </a:cubicBezTo>
                    <a:lnTo>
                      <a:pt x="1521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4" name="Google Shape;884;p27"/>
              <p:cNvSpPr/>
              <p:nvPr/>
            </p:nvSpPr>
            <p:spPr>
              <a:xfrm>
                <a:off x="7590164" y="1885085"/>
                <a:ext cx="51084" cy="20447"/>
              </a:xfrm>
              <a:custGeom>
                <a:avLst/>
                <a:gdLst/>
                <a:ahLst/>
                <a:cxnLst/>
                <a:rect l="l" t="t" r="r" b="b"/>
                <a:pathLst>
                  <a:path w="1584" h="634" extrusionOk="0">
                    <a:moveTo>
                      <a:pt x="0" y="0"/>
                    </a:moveTo>
                    <a:lnTo>
                      <a:pt x="0" y="602"/>
                    </a:lnTo>
                    <a:cubicBezTo>
                      <a:pt x="507" y="602"/>
                      <a:pt x="1045" y="634"/>
                      <a:pt x="1584" y="634"/>
                    </a:cubicBezTo>
                    <a:lnTo>
                      <a:pt x="1584" y="64"/>
                    </a:lnTo>
                    <a:cubicBezTo>
                      <a:pt x="1077" y="32"/>
                      <a:pt x="539" y="32"/>
                      <a:pt x="0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5" name="Google Shape;885;p27"/>
              <p:cNvSpPr/>
              <p:nvPr/>
            </p:nvSpPr>
            <p:spPr>
              <a:xfrm>
                <a:off x="7681044" y="2989131"/>
                <a:ext cx="54180" cy="28638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88" extrusionOk="0">
                    <a:moveTo>
                      <a:pt x="1553" y="1"/>
                    </a:moveTo>
                    <a:cubicBezTo>
                      <a:pt x="1046" y="96"/>
                      <a:pt x="507" y="191"/>
                      <a:pt x="1" y="286"/>
                    </a:cubicBezTo>
                    <a:lnTo>
                      <a:pt x="96" y="887"/>
                    </a:lnTo>
                    <a:cubicBezTo>
                      <a:pt x="634" y="792"/>
                      <a:pt x="1172" y="666"/>
                      <a:pt x="1679" y="571"/>
                    </a:cubicBezTo>
                    <a:lnTo>
                      <a:pt x="1553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6" name="Google Shape;886;p27"/>
              <p:cNvSpPr/>
              <p:nvPr/>
            </p:nvSpPr>
            <p:spPr>
              <a:xfrm>
                <a:off x="7691267" y="2650055"/>
                <a:ext cx="52116" cy="22510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98" extrusionOk="0">
                    <a:moveTo>
                      <a:pt x="32" y="0"/>
                    </a:moveTo>
                    <a:lnTo>
                      <a:pt x="0" y="602"/>
                    </a:lnTo>
                    <a:cubicBezTo>
                      <a:pt x="539" y="634"/>
                      <a:pt x="1045" y="666"/>
                      <a:pt x="1584" y="697"/>
                    </a:cubicBezTo>
                    <a:lnTo>
                      <a:pt x="1616" y="95"/>
                    </a:lnTo>
                    <a:cubicBezTo>
                      <a:pt x="1109" y="64"/>
                      <a:pt x="570" y="32"/>
                      <a:pt x="3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7" name="Google Shape;887;p27"/>
              <p:cNvSpPr/>
              <p:nvPr/>
            </p:nvSpPr>
            <p:spPr>
              <a:xfrm>
                <a:off x="7781148" y="2966653"/>
                <a:ext cx="55180" cy="30670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951" extrusionOk="0">
                    <a:moveTo>
                      <a:pt x="1552" y="1"/>
                    </a:moveTo>
                    <a:cubicBezTo>
                      <a:pt x="1045" y="128"/>
                      <a:pt x="539" y="254"/>
                      <a:pt x="0" y="349"/>
                    </a:cubicBezTo>
                    <a:lnTo>
                      <a:pt x="127" y="951"/>
                    </a:lnTo>
                    <a:cubicBezTo>
                      <a:pt x="665" y="824"/>
                      <a:pt x="1204" y="698"/>
                      <a:pt x="1710" y="571"/>
                    </a:cubicBezTo>
                    <a:lnTo>
                      <a:pt x="1552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8" name="Google Shape;888;p27"/>
              <p:cNvSpPr/>
              <p:nvPr/>
            </p:nvSpPr>
            <p:spPr>
              <a:xfrm>
                <a:off x="7793403" y="2657214"/>
                <a:ext cx="53148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761" extrusionOk="0">
                    <a:moveTo>
                      <a:pt x="64" y="0"/>
                    </a:moveTo>
                    <a:lnTo>
                      <a:pt x="0" y="602"/>
                    </a:lnTo>
                    <a:cubicBezTo>
                      <a:pt x="539" y="665"/>
                      <a:pt x="1077" y="697"/>
                      <a:pt x="1584" y="760"/>
                    </a:cubicBezTo>
                    <a:lnTo>
                      <a:pt x="1647" y="158"/>
                    </a:lnTo>
                    <a:cubicBezTo>
                      <a:pt x="1140" y="127"/>
                      <a:pt x="602" y="63"/>
                      <a:pt x="64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89" name="Google Shape;889;p27"/>
              <p:cNvSpPr/>
              <p:nvPr/>
            </p:nvSpPr>
            <p:spPr>
              <a:xfrm>
                <a:off x="7795435" y="1896308"/>
                <a:ext cx="53148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761" extrusionOk="0">
                    <a:moveTo>
                      <a:pt x="32" y="1"/>
                    </a:moveTo>
                    <a:lnTo>
                      <a:pt x="1" y="603"/>
                    </a:lnTo>
                    <a:cubicBezTo>
                      <a:pt x="507" y="634"/>
                      <a:pt x="1046" y="698"/>
                      <a:pt x="1584" y="761"/>
                    </a:cubicBezTo>
                    <a:lnTo>
                      <a:pt x="1647" y="159"/>
                    </a:lnTo>
                    <a:cubicBezTo>
                      <a:pt x="1109" y="96"/>
                      <a:pt x="571" y="33"/>
                      <a:pt x="32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0" name="Google Shape;890;p27"/>
              <p:cNvSpPr/>
              <p:nvPr/>
            </p:nvSpPr>
            <p:spPr>
              <a:xfrm>
                <a:off x="7784212" y="3727560"/>
                <a:ext cx="54148" cy="30670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951" extrusionOk="0">
                    <a:moveTo>
                      <a:pt x="1552" y="0"/>
                    </a:moveTo>
                    <a:cubicBezTo>
                      <a:pt x="1045" y="127"/>
                      <a:pt x="507" y="254"/>
                      <a:pt x="0" y="380"/>
                    </a:cubicBezTo>
                    <a:lnTo>
                      <a:pt x="127" y="950"/>
                    </a:lnTo>
                    <a:cubicBezTo>
                      <a:pt x="665" y="824"/>
                      <a:pt x="1172" y="697"/>
                      <a:pt x="1679" y="570"/>
                    </a:cubicBezTo>
                    <a:lnTo>
                      <a:pt x="155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1" name="Google Shape;891;p27"/>
              <p:cNvSpPr/>
              <p:nvPr/>
            </p:nvSpPr>
            <p:spPr>
              <a:xfrm>
                <a:off x="7979292" y="2907442"/>
                <a:ext cx="55180" cy="34733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077" extrusionOk="0">
                    <a:moveTo>
                      <a:pt x="1520" y="0"/>
                    </a:moveTo>
                    <a:cubicBezTo>
                      <a:pt x="1045" y="190"/>
                      <a:pt x="507" y="348"/>
                      <a:pt x="0" y="538"/>
                    </a:cubicBezTo>
                    <a:lnTo>
                      <a:pt x="190" y="1077"/>
                    </a:lnTo>
                    <a:cubicBezTo>
                      <a:pt x="728" y="918"/>
                      <a:pt x="1235" y="760"/>
                      <a:pt x="1710" y="570"/>
                    </a:cubicBezTo>
                    <a:lnTo>
                      <a:pt x="1520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2" name="Google Shape;892;p27"/>
              <p:cNvSpPr/>
              <p:nvPr/>
            </p:nvSpPr>
            <p:spPr>
              <a:xfrm>
                <a:off x="8495034" y="3002418"/>
                <a:ext cx="34765" cy="55180"/>
              </a:xfrm>
              <a:custGeom>
                <a:avLst/>
                <a:gdLst/>
                <a:ahLst/>
                <a:cxnLst/>
                <a:rect l="l" t="t" r="r" b="b"/>
                <a:pathLst>
                  <a:path w="1078" h="1711" extrusionOk="0">
                    <a:moveTo>
                      <a:pt x="571" y="0"/>
                    </a:moveTo>
                    <a:lnTo>
                      <a:pt x="1" y="222"/>
                    </a:lnTo>
                    <a:cubicBezTo>
                      <a:pt x="191" y="697"/>
                      <a:pt x="381" y="1204"/>
                      <a:pt x="508" y="1710"/>
                    </a:cubicBezTo>
                    <a:lnTo>
                      <a:pt x="1078" y="1552"/>
                    </a:lnTo>
                    <a:cubicBezTo>
                      <a:pt x="951" y="1014"/>
                      <a:pt x="761" y="475"/>
                      <a:pt x="571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3" name="Google Shape;893;p27"/>
              <p:cNvSpPr/>
              <p:nvPr/>
            </p:nvSpPr>
            <p:spPr>
              <a:xfrm>
                <a:off x="8342879" y="2707234"/>
                <a:ext cx="52116" cy="49085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1522" extrusionOk="0">
                    <a:moveTo>
                      <a:pt x="1204" y="1"/>
                    </a:moveTo>
                    <a:cubicBezTo>
                      <a:pt x="824" y="349"/>
                      <a:pt x="412" y="698"/>
                      <a:pt x="0" y="1046"/>
                    </a:cubicBezTo>
                    <a:lnTo>
                      <a:pt x="380" y="1521"/>
                    </a:lnTo>
                    <a:cubicBezTo>
                      <a:pt x="824" y="1173"/>
                      <a:pt x="1235" y="824"/>
                      <a:pt x="1615" y="444"/>
                    </a:cubicBezTo>
                    <a:lnTo>
                      <a:pt x="120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4" name="Google Shape;894;p27"/>
              <p:cNvSpPr/>
              <p:nvPr/>
            </p:nvSpPr>
            <p:spPr>
              <a:xfrm>
                <a:off x="8445014" y="2151663"/>
                <a:ext cx="44957" cy="53116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1647" extrusionOk="0">
                    <a:moveTo>
                      <a:pt x="475" y="0"/>
                    </a:moveTo>
                    <a:lnTo>
                      <a:pt x="0" y="380"/>
                    </a:lnTo>
                    <a:cubicBezTo>
                      <a:pt x="317" y="792"/>
                      <a:pt x="634" y="1203"/>
                      <a:pt x="887" y="1647"/>
                    </a:cubicBezTo>
                    <a:lnTo>
                      <a:pt x="1394" y="1362"/>
                    </a:lnTo>
                    <a:cubicBezTo>
                      <a:pt x="1140" y="887"/>
                      <a:pt x="824" y="443"/>
                      <a:pt x="475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5" name="Google Shape;895;p27"/>
              <p:cNvSpPr/>
              <p:nvPr/>
            </p:nvSpPr>
            <p:spPr>
              <a:xfrm>
                <a:off x="8475652" y="2543823"/>
                <a:ext cx="38829" cy="55212"/>
              </a:xfrm>
              <a:custGeom>
                <a:avLst/>
                <a:gdLst/>
                <a:ahLst/>
                <a:cxnLst/>
                <a:rect l="l" t="t" r="r" b="b"/>
                <a:pathLst>
                  <a:path w="1204" h="1712" extrusionOk="0">
                    <a:moveTo>
                      <a:pt x="665" y="1"/>
                    </a:moveTo>
                    <a:cubicBezTo>
                      <a:pt x="475" y="476"/>
                      <a:pt x="254" y="951"/>
                      <a:pt x="0" y="1426"/>
                    </a:cubicBezTo>
                    <a:lnTo>
                      <a:pt x="507" y="1711"/>
                    </a:lnTo>
                    <a:cubicBezTo>
                      <a:pt x="760" y="1236"/>
                      <a:pt x="1014" y="729"/>
                      <a:pt x="1204" y="223"/>
                    </a:cubicBezTo>
                    <a:lnTo>
                      <a:pt x="665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6" name="Google Shape;896;p27"/>
              <p:cNvSpPr/>
              <p:nvPr/>
            </p:nvSpPr>
            <p:spPr>
              <a:xfrm>
                <a:off x="8416409" y="2631672"/>
                <a:ext cx="48020" cy="52116"/>
              </a:xfrm>
              <a:custGeom>
                <a:avLst/>
                <a:gdLst/>
                <a:ahLst/>
                <a:cxnLst/>
                <a:rect l="l" t="t" r="r" b="b"/>
                <a:pathLst>
                  <a:path w="1489" h="1616" extrusionOk="0">
                    <a:moveTo>
                      <a:pt x="982" y="0"/>
                    </a:moveTo>
                    <a:cubicBezTo>
                      <a:pt x="697" y="412"/>
                      <a:pt x="349" y="824"/>
                      <a:pt x="0" y="1236"/>
                    </a:cubicBezTo>
                    <a:lnTo>
                      <a:pt x="475" y="1616"/>
                    </a:lnTo>
                    <a:cubicBezTo>
                      <a:pt x="824" y="1204"/>
                      <a:pt x="1172" y="792"/>
                      <a:pt x="1489" y="349"/>
                    </a:cubicBezTo>
                    <a:lnTo>
                      <a:pt x="98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7" name="Google Shape;897;p27"/>
              <p:cNvSpPr/>
              <p:nvPr/>
            </p:nvSpPr>
            <p:spPr>
              <a:xfrm>
                <a:off x="8096747" y="2708266"/>
                <a:ext cx="48020" cy="25574"/>
              </a:xfrm>
              <a:custGeom>
                <a:avLst/>
                <a:gdLst/>
                <a:ahLst/>
                <a:cxnLst/>
                <a:rect l="l" t="t" r="r" b="b"/>
                <a:pathLst>
                  <a:path w="1489" h="793" extrusionOk="0">
                    <a:moveTo>
                      <a:pt x="158" y="1"/>
                    </a:moveTo>
                    <a:lnTo>
                      <a:pt x="0" y="571"/>
                    </a:lnTo>
                    <a:cubicBezTo>
                      <a:pt x="222" y="634"/>
                      <a:pt x="475" y="697"/>
                      <a:pt x="697" y="792"/>
                    </a:cubicBezTo>
                    <a:cubicBezTo>
                      <a:pt x="982" y="666"/>
                      <a:pt x="1235" y="507"/>
                      <a:pt x="1488" y="381"/>
                    </a:cubicBezTo>
                    <a:cubicBezTo>
                      <a:pt x="1045" y="254"/>
                      <a:pt x="602" y="127"/>
                      <a:pt x="158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8" name="Google Shape;898;p27"/>
              <p:cNvSpPr/>
              <p:nvPr/>
            </p:nvSpPr>
            <p:spPr>
              <a:xfrm>
                <a:off x="8097746" y="1947392"/>
                <a:ext cx="47021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458" h="761" extrusionOk="0">
                    <a:moveTo>
                      <a:pt x="159" y="0"/>
                    </a:moveTo>
                    <a:lnTo>
                      <a:pt x="1" y="570"/>
                    </a:lnTo>
                    <a:cubicBezTo>
                      <a:pt x="254" y="634"/>
                      <a:pt x="476" y="697"/>
                      <a:pt x="697" y="760"/>
                    </a:cubicBezTo>
                    <a:cubicBezTo>
                      <a:pt x="951" y="634"/>
                      <a:pt x="1236" y="507"/>
                      <a:pt x="1457" y="380"/>
                    </a:cubicBezTo>
                    <a:cubicBezTo>
                      <a:pt x="1046" y="254"/>
                      <a:pt x="602" y="127"/>
                      <a:pt x="159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99" name="Google Shape;899;p27"/>
              <p:cNvSpPr/>
              <p:nvPr/>
            </p:nvSpPr>
            <p:spPr>
              <a:xfrm>
                <a:off x="8402122" y="2105675"/>
                <a:ext cx="23510" cy="20479"/>
              </a:xfrm>
              <a:custGeom>
                <a:avLst/>
                <a:gdLst/>
                <a:ahLst/>
                <a:cxnLst/>
                <a:rect l="l" t="t" r="r" b="b"/>
                <a:pathLst>
                  <a:path w="729" h="635" extrusionOk="0">
                    <a:moveTo>
                      <a:pt x="475" y="1"/>
                    </a:moveTo>
                    <a:cubicBezTo>
                      <a:pt x="317" y="96"/>
                      <a:pt x="158" y="223"/>
                      <a:pt x="0" y="349"/>
                    </a:cubicBezTo>
                    <a:cubicBezTo>
                      <a:pt x="95" y="444"/>
                      <a:pt x="190" y="539"/>
                      <a:pt x="285" y="634"/>
                    </a:cubicBezTo>
                    <a:lnTo>
                      <a:pt x="728" y="223"/>
                    </a:lnTo>
                    <a:cubicBezTo>
                      <a:pt x="633" y="128"/>
                      <a:pt x="570" y="64"/>
                      <a:pt x="475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0" name="Google Shape;900;p27"/>
              <p:cNvSpPr/>
              <p:nvPr/>
            </p:nvSpPr>
            <p:spPr>
              <a:xfrm>
                <a:off x="8520576" y="2344680"/>
                <a:ext cx="22510" cy="52116"/>
              </a:xfrm>
              <a:custGeom>
                <a:avLst/>
                <a:gdLst/>
                <a:ahLst/>
                <a:cxnLst/>
                <a:rect l="l" t="t" r="r" b="b"/>
                <a:pathLst>
                  <a:path w="698" h="1616" extrusionOk="0">
                    <a:moveTo>
                      <a:pt x="602" y="0"/>
                    </a:moveTo>
                    <a:lnTo>
                      <a:pt x="1" y="64"/>
                    </a:lnTo>
                    <a:cubicBezTo>
                      <a:pt x="64" y="571"/>
                      <a:pt x="96" y="1109"/>
                      <a:pt x="96" y="1616"/>
                    </a:cubicBezTo>
                    <a:lnTo>
                      <a:pt x="697" y="1616"/>
                    </a:lnTo>
                    <a:cubicBezTo>
                      <a:pt x="697" y="1077"/>
                      <a:pt x="666" y="507"/>
                      <a:pt x="60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1" name="Google Shape;901;p27"/>
              <p:cNvSpPr/>
              <p:nvPr/>
            </p:nvSpPr>
            <p:spPr>
              <a:xfrm>
                <a:off x="8512417" y="2446815"/>
                <a:ext cx="27606" cy="54148"/>
              </a:xfrm>
              <a:custGeom>
                <a:avLst/>
                <a:gdLst/>
                <a:ahLst/>
                <a:cxnLst/>
                <a:rect l="l" t="t" r="r" b="b"/>
                <a:pathLst>
                  <a:path w="856" h="1679" extrusionOk="0">
                    <a:moveTo>
                      <a:pt x="254" y="0"/>
                    </a:moveTo>
                    <a:cubicBezTo>
                      <a:pt x="222" y="539"/>
                      <a:pt x="127" y="1045"/>
                      <a:pt x="0" y="1552"/>
                    </a:cubicBezTo>
                    <a:lnTo>
                      <a:pt x="570" y="1679"/>
                    </a:lnTo>
                    <a:cubicBezTo>
                      <a:pt x="697" y="1172"/>
                      <a:pt x="792" y="634"/>
                      <a:pt x="855" y="95"/>
                    </a:cubicBezTo>
                    <a:lnTo>
                      <a:pt x="25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2" name="Google Shape;902;p27"/>
              <p:cNvSpPr/>
              <p:nvPr/>
            </p:nvSpPr>
            <p:spPr>
              <a:xfrm>
                <a:off x="8443982" y="2911506"/>
                <a:ext cx="45988" cy="53148"/>
              </a:xfrm>
              <a:custGeom>
                <a:avLst/>
                <a:gdLst/>
                <a:ahLst/>
                <a:cxnLst/>
                <a:rect l="l" t="t" r="r" b="b"/>
                <a:pathLst>
                  <a:path w="1426" h="1648" extrusionOk="0">
                    <a:moveTo>
                      <a:pt x="476" y="1"/>
                    </a:moveTo>
                    <a:lnTo>
                      <a:pt x="1" y="381"/>
                    </a:lnTo>
                    <a:cubicBezTo>
                      <a:pt x="349" y="792"/>
                      <a:pt x="634" y="1204"/>
                      <a:pt x="887" y="1647"/>
                    </a:cubicBezTo>
                    <a:lnTo>
                      <a:pt x="1426" y="1362"/>
                    </a:lnTo>
                    <a:cubicBezTo>
                      <a:pt x="1141" y="887"/>
                      <a:pt x="824" y="444"/>
                      <a:pt x="476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3" name="Google Shape;903;p27"/>
              <p:cNvSpPr/>
              <p:nvPr/>
            </p:nvSpPr>
            <p:spPr>
              <a:xfrm>
                <a:off x="8476652" y="3303698"/>
                <a:ext cx="38861" cy="55180"/>
              </a:xfrm>
              <a:custGeom>
                <a:avLst/>
                <a:gdLst/>
                <a:ahLst/>
                <a:cxnLst/>
                <a:rect l="l" t="t" r="r" b="b"/>
                <a:pathLst>
                  <a:path w="1205" h="1711" extrusionOk="0">
                    <a:moveTo>
                      <a:pt x="666" y="1"/>
                    </a:moveTo>
                    <a:cubicBezTo>
                      <a:pt x="476" y="476"/>
                      <a:pt x="254" y="951"/>
                      <a:pt x="1" y="1426"/>
                    </a:cubicBezTo>
                    <a:lnTo>
                      <a:pt x="539" y="1711"/>
                    </a:lnTo>
                    <a:cubicBezTo>
                      <a:pt x="793" y="1204"/>
                      <a:pt x="1014" y="729"/>
                      <a:pt x="1204" y="222"/>
                    </a:cubicBezTo>
                    <a:lnTo>
                      <a:pt x="666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4" name="Google Shape;904;p27"/>
              <p:cNvSpPr/>
              <p:nvPr/>
            </p:nvSpPr>
            <p:spPr>
              <a:xfrm>
                <a:off x="8402122" y="2866581"/>
                <a:ext cx="22478" cy="19415"/>
              </a:xfrm>
              <a:custGeom>
                <a:avLst/>
                <a:gdLst/>
                <a:ahLst/>
                <a:cxnLst/>
                <a:rect l="l" t="t" r="r" b="b"/>
                <a:pathLst>
                  <a:path w="697" h="602" extrusionOk="0">
                    <a:moveTo>
                      <a:pt x="475" y="0"/>
                    </a:moveTo>
                    <a:cubicBezTo>
                      <a:pt x="317" y="127"/>
                      <a:pt x="158" y="222"/>
                      <a:pt x="0" y="349"/>
                    </a:cubicBezTo>
                    <a:lnTo>
                      <a:pt x="285" y="602"/>
                    </a:lnTo>
                    <a:lnTo>
                      <a:pt x="697" y="190"/>
                    </a:lnTo>
                    <a:cubicBezTo>
                      <a:pt x="633" y="127"/>
                      <a:pt x="538" y="64"/>
                      <a:pt x="475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5" name="Google Shape;905;p27"/>
              <p:cNvSpPr/>
              <p:nvPr/>
            </p:nvSpPr>
            <p:spPr>
              <a:xfrm>
                <a:off x="8344910" y="3468141"/>
                <a:ext cx="52116" cy="48020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1489" extrusionOk="0">
                    <a:moveTo>
                      <a:pt x="1204" y="0"/>
                    </a:moveTo>
                    <a:cubicBezTo>
                      <a:pt x="824" y="349"/>
                      <a:pt x="444" y="697"/>
                      <a:pt x="1" y="1014"/>
                    </a:cubicBezTo>
                    <a:lnTo>
                      <a:pt x="381" y="1489"/>
                    </a:lnTo>
                    <a:cubicBezTo>
                      <a:pt x="824" y="1140"/>
                      <a:pt x="1236" y="792"/>
                      <a:pt x="1616" y="412"/>
                    </a:cubicBezTo>
                    <a:lnTo>
                      <a:pt x="120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6" name="Google Shape;906;p27"/>
              <p:cNvSpPr/>
              <p:nvPr/>
            </p:nvSpPr>
            <p:spPr>
              <a:xfrm>
                <a:off x="8418440" y="3391547"/>
                <a:ext cx="47021" cy="52116"/>
              </a:xfrm>
              <a:custGeom>
                <a:avLst/>
                <a:gdLst/>
                <a:ahLst/>
                <a:cxnLst/>
                <a:rect l="l" t="t" r="r" b="b"/>
                <a:pathLst>
                  <a:path w="1458" h="1616" extrusionOk="0">
                    <a:moveTo>
                      <a:pt x="983" y="0"/>
                    </a:moveTo>
                    <a:cubicBezTo>
                      <a:pt x="698" y="412"/>
                      <a:pt x="349" y="823"/>
                      <a:pt x="1" y="1235"/>
                    </a:cubicBezTo>
                    <a:lnTo>
                      <a:pt x="444" y="1615"/>
                    </a:lnTo>
                    <a:cubicBezTo>
                      <a:pt x="824" y="1204"/>
                      <a:pt x="1173" y="792"/>
                      <a:pt x="1458" y="348"/>
                    </a:cubicBezTo>
                    <a:lnTo>
                      <a:pt x="983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7" name="Google Shape;907;p27"/>
              <p:cNvSpPr/>
              <p:nvPr/>
            </p:nvSpPr>
            <p:spPr>
              <a:xfrm>
                <a:off x="8262189" y="3531447"/>
                <a:ext cx="54148" cy="44989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1395" extrusionOk="0">
                    <a:moveTo>
                      <a:pt x="1331" y="1"/>
                    </a:moveTo>
                    <a:cubicBezTo>
                      <a:pt x="919" y="317"/>
                      <a:pt x="475" y="602"/>
                      <a:pt x="0" y="887"/>
                    </a:cubicBezTo>
                    <a:lnTo>
                      <a:pt x="317" y="1394"/>
                    </a:lnTo>
                    <a:cubicBezTo>
                      <a:pt x="792" y="1109"/>
                      <a:pt x="1236" y="792"/>
                      <a:pt x="1679" y="507"/>
                    </a:cubicBezTo>
                    <a:lnTo>
                      <a:pt x="1331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8" name="Google Shape;908;p27"/>
              <p:cNvSpPr/>
              <p:nvPr/>
            </p:nvSpPr>
            <p:spPr>
              <a:xfrm>
                <a:off x="8513449" y="3206690"/>
                <a:ext cx="27606" cy="54148"/>
              </a:xfrm>
              <a:custGeom>
                <a:avLst/>
                <a:gdLst/>
                <a:ahLst/>
                <a:cxnLst/>
                <a:rect l="l" t="t" r="r" b="b"/>
                <a:pathLst>
                  <a:path w="856" h="1679" extrusionOk="0">
                    <a:moveTo>
                      <a:pt x="253" y="0"/>
                    </a:moveTo>
                    <a:cubicBezTo>
                      <a:pt x="190" y="507"/>
                      <a:pt x="127" y="1045"/>
                      <a:pt x="0" y="1520"/>
                    </a:cubicBezTo>
                    <a:lnTo>
                      <a:pt x="570" y="1678"/>
                    </a:lnTo>
                    <a:cubicBezTo>
                      <a:pt x="697" y="1140"/>
                      <a:pt x="792" y="602"/>
                      <a:pt x="855" y="63"/>
                    </a:cubicBezTo>
                    <a:lnTo>
                      <a:pt x="253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09" name="Google Shape;909;p27"/>
              <p:cNvSpPr/>
              <p:nvPr/>
            </p:nvSpPr>
            <p:spPr>
              <a:xfrm>
                <a:off x="8495034" y="2242544"/>
                <a:ext cx="34765" cy="55180"/>
              </a:xfrm>
              <a:custGeom>
                <a:avLst/>
                <a:gdLst/>
                <a:ahLst/>
                <a:cxnLst/>
                <a:rect l="l" t="t" r="r" b="b"/>
                <a:pathLst>
                  <a:path w="1078" h="1711" extrusionOk="0">
                    <a:moveTo>
                      <a:pt x="571" y="1"/>
                    </a:moveTo>
                    <a:lnTo>
                      <a:pt x="1" y="222"/>
                    </a:lnTo>
                    <a:cubicBezTo>
                      <a:pt x="223" y="697"/>
                      <a:pt x="381" y="1204"/>
                      <a:pt x="508" y="1711"/>
                    </a:cubicBezTo>
                    <a:lnTo>
                      <a:pt x="1078" y="1552"/>
                    </a:lnTo>
                    <a:cubicBezTo>
                      <a:pt x="951" y="1014"/>
                      <a:pt x="761" y="507"/>
                      <a:pt x="571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0" name="Google Shape;910;p27"/>
              <p:cNvSpPr/>
              <p:nvPr/>
            </p:nvSpPr>
            <p:spPr>
              <a:xfrm>
                <a:off x="8520576" y="3103522"/>
                <a:ext cx="22510" cy="53148"/>
              </a:xfrm>
              <a:custGeom>
                <a:avLst/>
                <a:gdLst/>
                <a:ahLst/>
                <a:cxnLst/>
                <a:rect l="l" t="t" r="r" b="b"/>
                <a:pathLst>
                  <a:path w="698" h="1648" extrusionOk="0">
                    <a:moveTo>
                      <a:pt x="602" y="0"/>
                    </a:moveTo>
                    <a:lnTo>
                      <a:pt x="1" y="95"/>
                    </a:lnTo>
                    <a:cubicBezTo>
                      <a:pt x="64" y="602"/>
                      <a:pt x="96" y="1109"/>
                      <a:pt x="96" y="1647"/>
                    </a:cubicBezTo>
                    <a:lnTo>
                      <a:pt x="697" y="1647"/>
                    </a:lnTo>
                    <a:cubicBezTo>
                      <a:pt x="697" y="1077"/>
                      <a:pt x="666" y="539"/>
                      <a:pt x="60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1" name="Google Shape;911;p27"/>
              <p:cNvSpPr/>
              <p:nvPr/>
            </p:nvSpPr>
            <p:spPr>
              <a:xfrm>
                <a:off x="7588100" y="2646991"/>
                <a:ext cx="52116" cy="20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34" extrusionOk="0">
                    <a:moveTo>
                      <a:pt x="1" y="0"/>
                    </a:moveTo>
                    <a:lnTo>
                      <a:pt x="1" y="602"/>
                    </a:lnTo>
                    <a:cubicBezTo>
                      <a:pt x="539" y="602"/>
                      <a:pt x="1078" y="602"/>
                      <a:pt x="1584" y="634"/>
                    </a:cubicBezTo>
                    <a:lnTo>
                      <a:pt x="1616" y="32"/>
                    </a:lnTo>
                    <a:cubicBezTo>
                      <a:pt x="1078" y="32"/>
                      <a:pt x="539" y="0"/>
                      <a:pt x="1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2" name="Google Shape;912;p27"/>
              <p:cNvSpPr/>
              <p:nvPr/>
            </p:nvSpPr>
            <p:spPr>
              <a:xfrm>
                <a:off x="6758791" y="3787803"/>
                <a:ext cx="54148" cy="26574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824" extrusionOk="0">
                    <a:moveTo>
                      <a:pt x="96" y="1"/>
                    </a:moveTo>
                    <a:lnTo>
                      <a:pt x="1" y="602"/>
                    </a:lnTo>
                    <a:cubicBezTo>
                      <a:pt x="507" y="697"/>
                      <a:pt x="1046" y="761"/>
                      <a:pt x="1584" y="824"/>
                    </a:cubicBezTo>
                    <a:lnTo>
                      <a:pt x="1679" y="222"/>
                    </a:lnTo>
                    <a:cubicBezTo>
                      <a:pt x="1141" y="159"/>
                      <a:pt x="602" y="96"/>
                      <a:pt x="96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3" name="Google Shape;913;p27"/>
              <p:cNvSpPr/>
              <p:nvPr/>
            </p:nvSpPr>
            <p:spPr>
              <a:xfrm>
                <a:off x="6664814" y="3500810"/>
                <a:ext cx="55212" cy="33733"/>
              </a:xfrm>
              <a:custGeom>
                <a:avLst/>
                <a:gdLst/>
                <a:ahLst/>
                <a:cxnLst/>
                <a:rect l="l" t="t" r="r" b="b"/>
                <a:pathLst>
                  <a:path w="1712" h="1046" extrusionOk="0">
                    <a:moveTo>
                      <a:pt x="1553" y="1"/>
                    </a:moveTo>
                    <a:cubicBezTo>
                      <a:pt x="1014" y="159"/>
                      <a:pt x="508" y="317"/>
                      <a:pt x="1" y="476"/>
                    </a:cubicBezTo>
                    <a:lnTo>
                      <a:pt x="223" y="1046"/>
                    </a:lnTo>
                    <a:cubicBezTo>
                      <a:pt x="698" y="887"/>
                      <a:pt x="1204" y="729"/>
                      <a:pt x="1711" y="571"/>
                    </a:cubicBezTo>
                    <a:lnTo>
                      <a:pt x="1553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4" name="Google Shape;914;p27"/>
              <p:cNvSpPr/>
              <p:nvPr/>
            </p:nvSpPr>
            <p:spPr>
              <a:xfrm>
                <a:off x="6666878" y="2737872"/>
                <a:ext cx="55180" cy="34765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078" extrusionOk="0">
                    <a:moveTo>
                      <a:pt x="1520" y="1"/>
                    </a:moveTo>
                    <a:cubicBezTo>
                      <a:pt x="982" y="159"/>
                      <a:pt x="475" y="349"/>
                      <a:pt x="0" y="508"/>
                    </a:cubicBezTo>
                    <a:lnTo>
                      <a:pt x="190" y="1078"/>
                    </a:lnTo>
                    <a:cubicBezTo>
                      <a:pt x="665" y="919"/>
                      <a:pt x="1172" y="729"/>
                      <a:pt x="1710" y="571"/>
                    </a:cubicBezTo>
                    <a:lnTo>
                      <a:pt x="1520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5" name="Google Shape;915;p27"/>
              <p:cNvSpPr/>
              <p:nvPr/>
            </p:nvSpPr>
            <p:spPr>
              <a:xfrm>
                <a:off x="6765950" y="2712362"/>
                <a:ext cx="55180" cy="30670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951" extrusionOk="0">
                    <a:moveTo>
                      <a:pt x="1584" y="0"/>
                    </a:moveTo>
                    <a:cubicBezTo>
                      <a:pt x="1045" y="127"/>
                      <a:pt x="507" y="254"/>
                      <a:pt x="0" y="380"/>
                    </a:cubicBezTo>
                    <a:lnTo>
                      <a:pt x="159" y="950"/>
                    </a:lnTo>
                    <a:cubicBezTo>
                      <a:pt x="665" y="824"/>
                      <a:pt x="1172" y="697"/>
                      <a:pt x="1710" y="570"/>
                    </a:cubicBez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6" name="Google Shape;916;p27"/>
              <p:cNvSpPr/>
              <p:nvPr/>
            </p:nvSpPr>
            <p:spPr>
              <a:xfrm>
                <a:off x="6755727" y="3025896"/>
                <a:ext cx="54148" cy="26606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825" extrusionOk="0">
                    <a:moveTo>
                      <a:pt x="96" y="1"/>
                    </a:moveTo>
                    <a:lnTo>
                      <a:pt x="1" y="602"/>
                    </a:lnTo>
                    <a:cubicBezTo>
                      <a:pt x="507" y="697"/>
                      <a:pt x="1046" y="761"/>
                      <a:pt x="1616" y="824"/>
                    </a:cubicBezTo>
                    <a:lnTo>
                      <a:pt x="1679" y="222"/>
                    </a:lnTo>
                    <a:cubicBezTo>
                      <a:pt x="1141" y="159"/>
                      <a:pt x="602" y="96"/>
                      <a:pt x="96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7" name="Google Shape;917;p27"/>
              <p:cNvSpPr/>
              <p:nvPr/>
            </p:nvSpPr>
            <p:spPr>
              <a:xfrm>
                <a:off x="6764918" y="3474268"/>
                <a:ext cx="54180" cy="30670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951" extrusionOk="0">
                    <a:moveTo>
                      <a:pt x="1552" y="0"/>
                    </a:moveTo>
                    <a:cubicBezTo>
                      <a:pt x="1014" y="127"/>
                      <a:pt x="507" y="254"/>
                      <a:pt x="1" y="380"/>
                    </a:cubicBezTo>
                    <a:lnTo>
                      <a:pt x="127" y="950"/>
                    </a:lnTo>
                    <a:cubicBezTo>
                      <a:pt x="634" y="824"/>
                      <a:pt x="1141" y="697"/>
                      <a:pt x="1679" y="570"/>
                    </a:cubicBezTo>
                    <a:lnTo>
                      <a:pt x="1552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8" name="Google Shape;918;p27"/>
              <p:cNvSpPr/>
              <p:nvPr/>
            </p:nvSpPr>
            <p:spPr>
              <a:xfrm>
                <a:off x="6867054" y="2691915"/>
                <a:ext cx="54148" cy="28638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888" extrusionOk="0">
                    <a:moveTo>
                      <a:pt x="1584" y="1"/>
                    </a:moveTo>
                    <a:cubicBezTo>
                      <a:pt x="1046" y="96"/>
                      <a:pt x="507" y="191"/>
                      <a:pt x="0" y="286"/>
                    </a:cubicBezTo>
                    <a:lnTo>
                      <a:pt x="127" y="888"/>
                    </a:lnTo>
                    <a:cubicBezTo>
                      <a:pt x="634" y="761"/>
                      <a:pt x="1141" y="666"/>
                      <a:pt x="1679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19" name="Google Shape;919;p27"/>
              <p:cNvSpPr/>
              <p:nvPr/>
            </p:nvSpPr>
            <p:spPr>
              <a:xfrm>
                <a:off x="6962030" y="3046343"/>
                <a:ext cx="53148" cy="21478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666" extrusionOk="0">
                    <a:moveTo>
                      <a:pt x="32" y="0"/>
                    </a:moveTo>
                    <a:lnTo>
                      <a:pt x="1" y="602"/>
                    </a:lnTo>
                    <a:cubicBezTo>
                      <a:pt x="539" y="602"/>
                      <a:pt x="1077" y="633"/>
                      <a:pt x="1616" y="665"/>
                    </a:cubicBezTo>
                    <a:lnTo>
                      <a:pt x="1647" y="63"/>
                    </a:lnTo>
                    <a:cubicBezTo>
                      <a:pt x="1109" y="32"/>
                      <a:pt x="571" y="0"/>
                      <a:pt x="3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0" name="Google Shape;920;p27"/>
              <p:cNvSpPr/>
              <p:nvPr/>
            </p:nvSpPr>
            <p:spPr>
              <a:xfrm>
                <a:off x="6861959" y="3801090"/>
                <a:ext cx="53116" cy="22511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698" extrusionOk="0">
                    <a:moveTo>
                      <a:pt x="32" y="0"/>
                    </a:moveTo>
                    <a:lnTo>
                      <a:pt x="0" y="570"/>
                    </a:lnTo>
                    <a:cubicBezTo>
                      <a:pt x="507" y="634"/>
                      <a:pt x="1045" y="665"/>
                      <a:pt x="1584" y="697"/>
                    </a:cubicBezTo>
                    <a:lnTo>
                      <a:pt x="1647" y="127"/>
                    </a:lnTo>
                    <a:cubicBezTo>
                      <a:pt x="1109" y="64"/>
                      <a:pt x="570" y="32"/>
                      <a:pt x="3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1" name="Google Shape;921;p27"/>
              <p:cNvSpPr/>
              <p:nvPr/>
            </p:nvSpPr>
            <p:spPr>
              <a:xfrm>
                <a:off x="6858895" y="3038151"/>
                <a:ext cx="53116" cy="23542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730" extrusionOk="0">
                    <a:moveTo>
                      <a:pt x="63" y="1"/>
                    </a:moveTo>
                    <a:lnTo>
                      <a:pt x="0" y="602"/>
                    </a:lnTo>
                    <a:cubicBezTo>
                      <a:pt x="507" y="666"/>
                      <a:pt x="1045" y="697"/>
                      <a:pt x="1584" y="729"/>
                    </a:cubicBezTo>
                    <a:lnTo>
                      <a:pt x="1647" y="159"/>
                    </a:lnTo>
                    <a:cubicBezTo>
                      <a:pt x="1109" y="96"/>
                      <a:pt x="570" y="64"/>
                      <a:pt x="63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2" name="Google Shape;922;p27"/>
              <p:cNvSpPr/>
              <p:nvPr/>
            </p:nvSpPr>
            <p:spPr>
              <a:xfrm>
                <a:off x="6866022" y="3453822"/>
                <a:ext cx="54180" cy="28638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88" extrusionOk="0">
                    <a:moveTo>
                      <a:pt x="1584" y="1"/>
                    </a:moveTo>
                    <a:cubicBezTo>
                      <a:pt x="1046" y="96"/>
                      <a:pt x="508" y="191"/>
                      <a:pt x="1" y="286"/>
                    </a:cubicBezTo>
                    <a:lnTo>
                      <a:pt x="96" y="888"/>
                    </a:lnTo>
                    <a:cubicBezTo>
                      <a:pt x="634" y="793"/>
                      <a:pt x="1141" y="698"/>
                      <a:pt x="1679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3" name="Google Shape;923;p27"/>
              <p:cNvSpPr/>
              <p:nvPr/>
            </p:nvSpPr>
            <p:spPr>
              <a:xfrm>
                <a:off x="6487117" y="3587627"/>
                <a:ext cx="49052" cy="50084"/>
              </a:xfrm>
              <a:custGeom>
                <a:avLst/>
                <a:gdLst/>
                <a:ahLst/>
                <a:cxnLst/>
                <a:rect l="l" t="t" r="r" b="b"/>
                <a:pathLst>
                  <a:path w="1521" h="1553" extrusionOk="0">
                    <a:moveTo>
                      <a:pt x="1172" y="1"/>
                    </a:moveTo>
                    <a:cubicBezTo>
                      <a:pt x="666" y="412"/>
                      <a:pt x="286" y="824"/>
                      <a:pt x="1" y="1236"/>
                    </a:cubicBezTo>
                    <a:lnTo>
                      <a:pt x="539" y="1552"/>
                    </a:lnTo>
                    <a:cubicBezTo>
                      <a:pt x="761" y="1204"/>
                      <a:pt x="1077" y="824"/>
                      <a:pt x="1521" y="476"/>
                    </a:cubicBezTo>
                    <a:lnTo>
                      <a:pt x="1172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4" name="Google Shape;924;p27"/>
              <p:cNvSpPr/>
              <p:nvPr/>
            </p:nvSpPr>
            <p:spPr>
              <a:xfrm>
                <a:off x="6554519" y="2975844"/>
                <a:ext cx="55180" cy="35797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110" extrusionOk="0">
                    <a:moveTo>
                      <a:pt x="222" y="1"/>
                    </a:moveTo>
                    <a:lnTo>
                      <a:pt x="1" y="539"/>
                    </a:lnTo>
                    <a:cubicBezTo>
                      <a:pt x="444" y="729"/>
                      <a:pt x="951" y="951"/>
                      <a:pt x="1521" y="1109"/>
                    </a:cubicBezTo>
                    <a:lnTo>
                      <a:pt x="1711" y="539"/>
                    </a:lnTo>
                    <a:cubicBezTo>
                      <a:pt x="1172" y="381"/>
                      <a:pt x="666" y="191"/>
                      <a:pt x="222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5" name="Google Shape;925;p27"/>
              <p:cNvSpPr/>
              <p:nvPr/>
            </p:nvSpPr>
            <p:spPr>
              <a:xfrm>
                <a:off x="6488149" y="2824689"/>
                <a:ext cx="50084" cy="50084"/>
              </a:xfrm>
              <a:custGeom>
                <a:avLst/>
                <a:gdLst/>
                <a:ahLst/>
                <a:cxnLst/>
                <a:rect l="l" t="t" r="r" b="b"/>
                <a:pathLst>
                  <a:path w="1553" h="1553" extrusionOk="0">
                    <a:moveTo>
                      <a:pt x="1172" y="1"/>
                    </a:moveTo>
                    <a:cubicBezTo>
                      <a:pt x="665" y="381"/>
                      <a:pt x="285" y="793"/>
                      <a:pt x="0" y="1204"/>
                    </a:cubicBezTo>
                    <a:lnTo>
                      <a:pt x="507" y="1553"/>
                    </a:lnTo>
                    <a:cubicBezTo>
                      <a:pt x="729" y="1173"/>
                      <a:pt x="1077" y="824"/>
                      <a:pt x="1552" y="476"/>
                    </a:cubicBezTo>
                    <a:lnTo>
                      <a:pt x="1172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6" name="Google Shape;926;p27"/>
              <p:cNvSpPr/>
              <p:nvPr/>
            </p:nvSpPr>
            <p:spPr>
              <a:xfrm>
                <a:off x="6474862" y="2915601"/>
                <a:ext cx="44957" cy="51084"/>
              </a:xfrm>
              <a:custGeom>
                <a:avLst/>
                <a:gdLst/>
                <a:ahLst/>
                <a:cxnLst/>
                <a:rect l="l" t="t" r="r" b="b"/>
                <a:pathLst>
                  <a:path w="1394" h="1584" extrusionOk="0">
                    <a:moveTo>
                      <a:pt x="602" y="0"/>
                    </a:moveTo>
                    <a:lnTo>
                      <a:pt x="1" y="127"/>
                    </a:lnTo>
                    <a:cubicBezTo>
                      <a:pt x="96" y="634"/>
                      <a:pt x="444" y="1109"/>
                      <a:pt x="1014" y="1584"/>
                    </a:cubicBezTo>
                    <a:lnTo>
                      <a:pt x="1394" y="1109"/>
                    </a:lnTo>
                    <a:cubicBezTo>
                      <a:pt x="919" y="760"/>
                      <a:pt x="666" y="380"/>
                      <a:pt x="60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7" name="Google Shape;927;p27"/>
              <p:cNvSpPr/>
              <p:nvPr/>
            </p:nvSpPr>
            <p:spPr>
              <a:xfrm>
                <a:off x="6475894" y="3679539"/>
                <a:ext cx="45989" cy="50084"/>
              </a:xfrm>
              <a:custGeom>
                <a:avLst/>
                <a:gdLst/>
                <a:ahLst/>
                <a:cxnLst/>
                <a:rect l="l" t="t" r="r" b="b"/>
                <a:pathLst>
                  <a:path w="1426" h="1553" extrusionOk="0">
                    <a:moveTo>
                      <a:pt x="602" y="1"/>
                    </a:moveTo>
                    <a:lnTo>
                      <a:pt x="0" y="127"/>
                    </a:lnTo>
                    <a:cubicBezTo>
                      <a:pt x="127" y="634"/>
                      <a:pt x="475" y="1109"/>
                      <a:pt x="1077" y="1552"/>
                    </a:cubicBezTo>
                    <a:lnTo>
                      <a:pt x="1425" y="1077"/>
                    </a:lnTo>
                    <a:cubicBezTo>
                      <a:pt x="950" y="729"/>
                      <a:pt x="697" y="349"/>
                      <a:pt x="602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8" name="Google Shape;928;p27"/>
              <p:cNvSpPr/>
              <p:nvPr/>
            </p:nvSpPr>
            <p:spPr>
              <a:xfrm>
                <a:off x="6965094" y="3807217"/>
                <a:ext cx="52116" cy="21479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66" extrusionOk="0">
                    <a:moveTo>
                      <a:pt x="32" y="0"/>
                    </a:moveTo>
                    <a:lnTo>
                      <a:pt x="1" y="602"/>
                    </a:lnTo>
                    <a:cubicBezTo>
                      <a:pt x="539" y="634"/>
                      <a:pt x="1077" y="665"/>
                      <a:pt x="1616" y="665"/>
                    </a:cubicBezTo>
                    <a:lnTo>
                      <a:pt x="1616" y="64"/>
                    </a:lnTo>
                    <a:cubicBezTo>
                      <a:pt x="1077" y="64"/>
                      <a:pt x="539" y="32"/>
                      <a:pt x="32" y="0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9" name="Google Shape;929;p27"/>
              <p:cNvSpPr/>
              <p:nvPr/>
            </p:nvSpPr>
            <p:spPr>
              <a:xfrm>
                <a:off x="6653591" y="3006482"/>
                <a:ext cx="55180" cy="29670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920" extrusionOk="0">
                    <a:moveTo>
                      <a:pt x="159" y="1"/>
                    </a:moveTo>
                    <a:lnTo>
                      <a:pt x="1" y="603"/>
                    </a:lnTo>
                    <a:cubicBezTo>
                      <a:pt x="507" y="698"/>
                      <a:pt x="1046" y="824"/>
                      <a:pt x="1584" y="919"/>
                    </a:cubicBezTo>
                    <a:lnTo>
                      <a:pt x="1711" y="349"/>
                    </a:lnTo>
                    <a:cubicBezTo>
                      <a:pt x="1172" y="254"/>
                      <a:pt x="634" y="128"/>
                      <a:pt x="159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0" name="Google Shape;930;p27"/>
              <p:cNvSpPr/>
              <p:nvPr/>
            </p:nvSpPr>
            <p:spPr>
              <a:xfrm>
                <a:off x="6656655" y="3769420"/>
                <a:ext cx="54180" cy="29638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919" extrusionOk="0">
                    <a:moveTo>
                      <a:pt x="127" y="1"/>
                    </a:moveTo>
                    <a:lnTo>
                      <a:pt x="1" y="571"/>
                    </a:lnTo>
                    <a:cubicBezTo>
                      <a:pt x="507" y="697"/>
                      <a:pt x="1014" y="792"/>
                      <a:pt x="1584" y="919"/>
                    </a:cubicBezTo>
                    <a:lnTo>
                      <a:pt x="1679" y="317"/>
                    </a:lnTo>
                    <a:cubicBezTo>
                      <a:pt x="1141" y="222"/>
                      <a:pt x="634" y="96"/>
                      <a:pt x="127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1" name="Google Shape;931;p27"/>
              <p:cNvSpPr/>
              <p:nvPr/>
            </p:nvSpPr>
            <p:spPr>
              <a:xfrm>
                <a:off x="6570870" y="2772605"/>
                <a:ext cx="55180" cy="39861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236" extrusionOk="0">
                    <a:moveTo>
                      <a:pt x="1457" y="1"/>
                    </a:moveTo>
                    <a:cubicBezTo>
                      <a:pt x="919" y="254"/>
                      <a:pt x="444" y="476"/>
                      <a:pt x="0" y="729"/>
                    </a:cubicBezTo>
                    <a:lnTo>
                      <a:pt x="285" y="1236"/>
                    </a:lnTo>
                    <a:cubicBezTo>
                      <a:pt x="697" y="1014"/>
                      <a:pt x="1172" y="792"/>
                      <a:pt x="1711" y="571"/>
                    </a:cubicBezTo>
                    <a:lnTo>
                      <a:pt x="1457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2" name="Google Shape;932;p27"/>
              <p:cNvSpPr/>
              <p:nvPr/>
            </p:nvSpPr>
            <p:spPr>
              <a:xfrm>
                <a:off x="6568838" y="3535543"/>
                <a:ext cx="55180" cy="39861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236" extrusionOk="0">
                    <a:moveTo>
                      <a:pt x="1489" y="0"/>
                    </a:moveTo>
                    <a:cubicBezTo>
                      <a:pt x="950" y="222"/>
                      <a:pt x="443" y="475"/>
                      <a:pt x="0" y="729"/>
                    </a:cubicBezTo>
                    <a:lnTo>
                      <a:pt x="317" y="1235"/>
                    </a:lnTo>
                    <a:cubicBezTo>
                      <a:pt x="728" y="1014"/>
                      <a:pt x="1204" y="760"/>
                      <a:pt x="1710" y="539"/>
                    </a:cubicBezTo>
                    <a:lnTo>
                      <a:pt x="1489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3" name="Google Shape;933;p27"/>
              <p:cNvSpPr/>
              <p:nvPr/>
            </p:nvSpPr>
            <p:spPr>
              <a:xfrm>
                <a:off x="6556583" y="3737751"/>
                <a:ext cx="55180" cy="36797"/>
              </a:xfrm>
              <a:custGeom>
                <a:avLst/>
                <a:gdLst/>
                <a:ahLst/>
                <a:cxnLst/>
                <a:rect l="l" t="t" r="r" b="b"/>
                <a:pathLst>
                  <a:path w="1711" h="1141" extrusionOk="0">
                    <a:moveTo>
                      <a:pt x="253" y="1"/>
                    </a:moveTo>
                    <a:lnTo>
                      <a:pt x="0" y="571"/>
                    </a:lnTo>
                    <a:cubicBezTo>
                      <a:pt x="443" y="761"/>
                      <a:pt x="982" y="951"/>
                      <a:pt x="1552" y="1141"/>
                    </a:cubicBezTo>
                    <a:lnTo>
                      <a:pt x="1710" y="571"/>
                    </a:lnTo>
                    <a:cubicBezTo>
                      <a:pt x="1172" y="381"/>
                      <a:pt x="665" y="191"/>
                      <a:pt x="253" y="1"/>
                    </a:cubicBez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4" name="Google Shape;934;p27"/>
              <p:cNvSpPr/>
              <p:nvPr/>
            </p:nvSpPr>
            <p:spPr>
              <a:xfrm>
                <a:off x="7169366" y="3047343"/>
                <a:ext cx="52116" cy="20479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35" extrusionOk="0">
                    <a:moveTo>
                      <a:pt x="1584" y="1"/>
                    </a:moveTo>
                    <a:cubicBezTo>
                      <a:pt x="1046" y="32"/>
                      <a:pt x="507" y="32"/>
                      <a:pt x="1" y="32"/>
                    </a:cubicBezTo>
                    <a:lnTo>
                      <a:pt x="1" y="634"/>
                    </a:lnTo>
                    <a:cubicBezTo>
                      <a:pt x="539" y="634"/>
                      <a:pt x="1077" y="634"/>
                      <a:pt x="1616" y="602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5" name="Google Shape;935;p27"/>
              <p:cNvSpPr/>
              <p:nvPr/>
            </p:nvSpPr>
            <p:spPr>
              <a:xfrm>
                <a:off x="7377733" y="3794962"/>
                <a:ext cx="53116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761" extrusionOk="0">
                    <a:moveTo>
                      <a:pt x="1583" y="0"/>
                    </a:moveTo>
                    <a:cubicBezTo>
                      <a:pt x="1045" y="64"/>
                      <a:pt x="507" y="95"/>
                      <a:pt x="0" y="159"/>
                    </a:cubicBezTo>
                    <a:lnTo>
                      <a:pt x="32" y="760"/>
                    </a:lnTo>
                    <a:cubicBezTo>
                      <a:pt x="570" y="697"/>
                      <a:pt x="1108" y="665"/>
                      <a:pt x="1647" y="602"/>
                    </a:cubicBezTo>
                    <a:lnTo>
                      <a:pt x="1583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6" name="Google Shape;936;p27"/>
              <p:cNvSpPr/>
              <p:nvPr/>
            </p:nvSpPr>
            <p:spPr>
              <a:xfrm>
                <a:off x="7374669" y="3034056"/>
                <a:ext cx="53116" cy="23542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730" extrusionOk="0">
                    <a:moveTo>
                      <a:pt x="1583" y="1"/>
                    </a:moveTo>
                    <a:cubicBezTo>
                      <a:pt x="1045" y="33"/>
                      <a:pt x="538" y="96"/>
                      <a:pt x="0" y="128"/>
                    </a:cubicBezTo>
                    <a:lnTo>
                      <a:pt x="32" y="729"/>
                    </a:lnTo>
                    <a:cubicBezTo>
                      <a:pt x="570" y="698"/>
                      <a:pt x="1108" y="634"/>
                      <a:pt x="1647" y="603"/>
                    </a:cubicBezTo>
                    <a:lnTo>
                      <a:pt x="1583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7" name="Google Shape;937;p27"/>
              <p:cNvSpPr/>
              <p:nvPr/>
            </p:nvSpPr>
            <p:spPr>
              <a:xfrm>
                <a:off x="7379765" y="3407865"/>
                <a:ext cx="52116" cy="20479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35" extrusionOk="0">
                    <a:moveTo>
                      <a:pt x="1615" y="1"/>
                    </a:moveTo>
                    <a:cubicBezTo>
                      <a:pt x="1077" y="1"/>
                      <a:pt x="539" y="32"/>
                      <a:pt x="0" y="32"/>
                    </a:cubicBezTo>
                    <a:lnTo>
                      <a:pt x="32" y="634"/>
                    </a:lnTo>
                    <a:cubicBezTo>
                      <a:pt x="539" y="634"/>
                      <a:pt x="1077" y="602"/>
                      <a:pt x="1615" y="602"/>
                    </a:cubicBezTo>
                    <a:lnTo>
                      <a:pt x="1615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8" name="Google Shape;938;p27"/>
              <p:cNvSpPr/>
              <p:nvPr/>
            </p:nvSpPr>
            <p:spPr>
              <a:xfrm>
                <a:off x="7274565" y="3804153"/>
                <a:ext cx="53148" cy="21479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666" extrusionOk="0">
                    <a:moveTo>
                      <a:pt x="1584" y="0"/>
                    </a:moveTo>
                    <a:cubicBezTo>
                      <a:pt x="1077" y="32"/>
                      <a:pt x="539" y="64"/>
                      <a:pt x="0" y="95"/>
                    </a:cubicBezTo>
                    <a:lnTo>
                      <a:pt x="32" y="665"/>
                    </a:lnTo>
                    <a:cubicBezTo>
                      <a:pt x="570" y="665"/>
                      <a:pt x="1109" y="602"/>
                      <a:pt x="1647" y="570"/>
                    </a:cubicBez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39" name="Google Shape;939;p27"/>
              <p:cNvSpPr/>
              <p:nvPr/>
            </p:nvSpPr>
            <p:spPr>
              <a:xfrm>
                <a:off x="7278661" y="2650055"/>
                <a:ext cx="52116" cy="21478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66" extrusionOk="0">
                    <a:moveTo>
                      <a:pt x="1584" y="0"/>
                    </a:moveTo>
                    <a:cubicBezTo>
                      <a:pt x="1045" y="0"/>
                      <a:pt x="507" y="32"/>
                      <a:pt x="0" y="64"/>
                    </a:cubicBezTo>
                    <a:lnTo>
                      <a:pt x="32" y="666"/>
                    </a:lnTo>
                    <a:cubicBezTo>
                      <a:pt x="538" y="634"/>
                      <a:pt x="1077" y="602"/>
                      <a:pt x="1615" y="571"/>
                    </a:cubicBez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0" name="Google Shape;940;p27"/>
              <p:cNvSpPr/>
              <p:nvPr/>
            </p:nvSpPr>
            <p:spPr>
              <a:xfrm>
                <a:off x="7276597" y="3410929"/>
                <a:ext cx="53148" cy="22511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698" extrusionOk="0">
                    <a:moveTo>
                      <a:pt x="1616" y="1"/>
                    </a:moveTo>
                    <a:cubicBezTo>
                      <a:pt x="1078" y="32"/>
                      <a:pt x="539" y="64"/>
                      <a:pt x="1" y="96"/>
                    </a:cubicBezTo>
                    <a:lnTo>
                      <a:pt x="32" y="698"/>
                    </a:lnTo>
                    <a:cubicBezTo>
                      <a:pt x="571" y="666"/>
                      <a:pt x="1109" y="634"/>
                      <a:pt x="1648" y="603"/>
                    </a:cubicBezTo>
                    <a:lnTo>
                      <a:pt x="1616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1" name="Google Shape;941;p27"/>
              <p:cNvSpPr/>
              <p:nvPr/>
            </p:nvSpPr>
            <p:spPr>
              <a:xfrm>
                <a:off x="7479836" y="3783707"/>
                <a:ext cx="53148" cy="25574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793" extrusionOk="0">
                    <a:moveTo>
                      <a:pt x="1584" y="1"/>
                    </a:moveTo>
                    <a:cubicBezTo>
                      <a:pt x="1046" y="64"/>
                      <a:pt x="539" y="128"/>
                      <a:pt x="1" y="191"/>
                    </a:cubicBezTo>
                    <a:lnTo>
                      <a:pt x="64" y="793"/>
                    </a:lnTo>
                    <a:cubicBezTo>
                      <a:pt x="603" y="729"/>
                      <a:pt x="1141" y="666"/>
                      <a:pt x="1648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2" name="Google Shape;942;p27"/>
              <p:cNvSpPr/>
              <p:nvPr/>
            </p:nvSpPr>
            <p:spPr>
              <a:xfrm>
                <a:off x="7484964" y="2645959"/>
                <a:ext cx="52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3" extrusionOk="0">
                    <a:moveTo>
                      <a:pt x="0" y="1"/>
                    </a:moveTo>
                    <a:lnTo>
                      <a:pt x="0" y="603"/>
                    </a:lnTo>
                    <a:lnTo>
                      <a:pt x="1584" y="603"/>
                    </a:lnTo>
                    <a:lnTo>
                      <a:pt x="1615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3" name="Google Shape;943;p27"/>
              <p:cNvSpPr/>
              <p:nvPr/>
            </p:nvSpPr>
            <p:spPr>
              <a:xfrm>
                <a:off x="7381796" y="2645959"/>
                <a:ext cx="52116" cy="21478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66" extrusionOk="0">
                    <a:moveTo>
                      <a:pt x="1584" y="1"/>
                    </a:moveTo>
                    <a:cubicBezTo>
                      <a:pt x="1046" y="32"/>
                      <a:pt x="539" y="32"/>
                      <a:pt x="1" y="64"/>
                    </a:cubicBezTo>
                    <a:lnTo>
                      <a:pt x="1" y="666"/>
                    </a:lnTo>
                    <a:cubicBezTo>
                      <a:pt x="539" y="634"/>
                      <a:pt x="1077" y="634"/>
                      <a:pt x="1616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4" name="Google Shape;944;p27"/>
              <p:cNvSpPr/>
              <p:nvPr/>
            </p:nvSpPr>
            <p:spPr>
              <a:xfrm>
                <a:off x="7476773" y="3022833"/>
                <a:ext cx="54180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761" extrusionOk="0">
                    <a:moveTo>
                      <a:pt x="1584" y="1"/>
                    </a:moveTo>
                    <a:cubicBezTo>
                      <a:pt x="1078" y="64"/>
                      <a:pt x="539" y="127"/>
                      <a:pt x="1" y="191"/>
                    </a:cubicBezTo>
                    <a:lnTo>
                      <a:pt x="64" y="761"/>
                    </a:lnTo>
                    <a:cubicBezTo>
                      <a:pt x="603" y="697"/>
                      <a:pt x="1141" y="634"/>
                      <a:pt x="1679" y="571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5" name="Google Shape;945;p27"/>
              <p:cNvSpPr/>
              <p:nvPr/>
            </p:nvSpPr>
            <p:spPr>
              <a:xfrm>
                <a:off x="7173461" y="3417057"/>
                <a:ext cx="53116" cy="23543"/>
              </a:xfrm>
              <a:custGeom>
                <a:avLst/>
                <a:gdLst/>
                <a:ahLst/>
                <a:cxnLst/>
                <a:rect l="l" t="t" r="r" b="b"/>
                <a:pathLst>
                  <a:path w="1647" h="730" extrusionOk="0">
                    <a:moveTo>
                      <a:pt x="1584" y="1"/>
                    </a:moveTo>
                    <a:cubicBezTo>
                      <a:pt x="1045" y="32"/>
                      <a:pt x="539" y="96"/>
                      <a:pt x="0" y="127"/>
                    </a:cubicBezTo>
                    <a:lnTo>
                      <a:pt x="64" y="729"/>
                    </a:lnTo>
                    <a:cubicBezTo>
                      <a:pt x="570" y="698"/>
                      <a:pt x="1109" y="634"/>
                      <a:pt x="1647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6" name="Google Shape;946;p27"/>
              <p:cNvSpPr/>
              <p:nvPr/>
            </p:nvSpPr>
            <p:spPr>
              <a:xfrm>
                <a:off x="7068262" y="3811313"/>
                <a:ext cx="52116" cy="19414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02" extrusionOk="0">
                    <a:moveTo>
                      <a:pt x="32" y="0"/>
                    </a:moveTo>
                    <a:lnTo>
                      <a:pt x="0" y="570"/>
                    </a:lnTo>
                    <a:cubicBezTo>
                      <a:pt x="412" y="602"/>
                      <a:pt x="824" y="602"/>
                      <a:pt x="1235" y="602"/>
                    </a:cubicBezTo>
                    <a:lnTo>
                      <a:pt x="1615" y="602"/>
                    </a:lnTo>
                    <a:lnTo>
                      <a:pt x="1615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7" name="Google Shape;947;p27"/>
              <p:cNvSpPr/>
              <p:nvPr/>
            </p:nvSpPr>
            <p:spPr>
              <a:xfrm>
                <a:off x="7072325" y="2664342"/>
                <a:ext cx="53148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761" extrusionOk="0">
                    <a:moveTo>
                      <a:pt x="1584" y="1"/>
                    </a:moveTo>
                    <a:cubicBezTo>
                      <a:pt x="1046" y="33"/>
                      <a:pt x="508" y="96"/>
                      <a:pt x="1" y="159"/>
                    </a:cubicBezTo>
                    <a:lnTo>
                      <a:pt x="64" y="761"/>
                    </a:lnTo>
                    <a:cubicBezTo>
                      <a:pt x="571" y="698"/>
                      <a:pt x="1109" y="634"/>
                      <a:pt x="1648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8" name="Google Shape;948;p27"/>
              <p:cNvSpPr/>
              <p:nvPr/>
            </p:nvSpPr>
            <p:spPr>
              <a:xfrm>
                <a:off x="7070294" y="3426248"/>
                <a:ext cx="53148" cy="24542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761" extrusionOk="0">
                    <a:moveTo>
                      <a:pt x="1616" y="1"/>
                    </a:moveTo>
                    <a:cubicBezTo>
                      <a:pt x="1077" y="64"/>
                      <a:pt x="539" y="96"/>
                      <a:pt x="1" y="159"/>
                    </a:cubicBezTo>
                    <a:lnTo>
                      <a:pt x="64" y="761"/>
                    </a:lnTo>
                    <a:cubicBezTo>
                      <a:pt x="602" y="698"/>
                      <a:pt x="1141" y="634"/>
                      <a:pt x="1647" y="603"/>
                    </a:cubicBezTo>
                    <a:lnTo>
                      <a:pt x="1616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9" name="Google Shape;949;p27"/>
              <p:cNvSpPr/>
              <p:nvPr/>
            </p:nvSpPr>
            <p:spPr>
              <a:xfrm>
                <a:off x="7066198" y="3049407"/>
                <a:ext cx="51116" cy="19415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602" extrusionOk="0">
                    <a:moveTo>
                      <a:pt x="1" y="0"/>
                    </a:moveTo>
                    <a:lnTo>
                      <a:pt x="1" y="602"/>
                    </a:lnTo>
                    <a:lnTo>
                      <a:pt x="1584" y="602"/>
                    </a:lnTo>
                    <a:lnTo>
                      <a:pt x="1584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0" name="Google Shape;950;p27"/>
              <p:cNvSpPr/>
              <p:nvPr/>
            </p:nvSpPr>
            <p:spPr>
              <a:xfrm>
                <a:off x="6969190" y="2676597"/>
                <a:ext cx="54148" cy="25574"/>
              </a:xfrm>
              <a:custGeom>
                <a:avLst/>
                <a:gdLst/>
                <a:ahLst/>
                <a:cxnLst/>
                <a:rect l="l" t="t" r="r" b="b"/>
                <a:pathLst>
                  <a:path w="1679" h="793" extrusionOk="0">
                    <a:moveTo>
                      <a:pt x="1584" y="1"/>
                    </a:moveTo>
                    <a:cubicBezTo>
                      <a:pt x="1045" y="64"/>
                      <a:pt x="507" y="128"/>
                      <a:pt x="0" y="223"/>
                    </a:cubicBezTo>
                    <a:lnTo>
                      <a:pt x="95" y="793"/>
                    </a:lnTo>
                    <a:cubicBezTo>
                      <a:pt x="602" y="729"/>
                      <a:pt x="1140" y="666"/>
                      <a:pt x="1679" y="571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1" name="Google Shape;951;p27"/>
              <p:cNvSpPr/>
              <p:nvPr/>
            </p:nvSpPr>
            <p:spPr>
              <a:xfrm>
                <a:off x="7171397" y="3809249"/>
                <a:ext cx="52116" cy="20479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635" extrusionOk="0">
                    <a:moveTo>
                      <a:pt x="1616" y="1"/>
                    </a:moveTo>
                    <a:cubicBezTo>
                      <a:pt x="1078" y="1"/>
                      <a:pt x="539" y="32"/>
                      <a:pt x="1" y="32"/>
                    </a:cubicBezTo>
                    <a:lnTo>
                      <a:pt x="33" y="634"/>
                    </a:lnTo>
                    <a:cubicBezTo>
                      <a:pt x="571" y="634"/>
                      <a:pt x="1078" y="602"/>
                      <a:pt x="1616" y="602"/>
                    </a:cubicBezTo>
                    <a:lnTo>
                      <a:pt x="1616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2" name="Google Shape;952;p27"/>
              <p:cNvSpPr/>
              <p:nvPr/>
            </p:nvSpPr>
            <p:spPr>
              <a:xfrm>
                <a:off x="7578908" y="3007514"/>
                <a:ext cx="54180" cy="26574"/>
              </a:xfrm>
              <a:custGeom>
                <a:avLst/>
                <a:gdLst/>
                <a:ahLst/>
                <a:cxnLst/>
                <a:rect l="l" t="t" r="r" b="b"/>
                <a:pathLst>
                  <a:path w="1680" h="824" extrusionOk="0">
                    <a:moveTo>
                      <a:pt x="1584" y="1"/>
                    </a:moveTo>
                    <a:cubicBezTo>
                      <a:pt x="1046" y="96"/>
                      <a:pt x="539" y="159"/>
                      <a:pt x="1" y="254"/>
                    </a:cubicBezTo>
                    <a:lnTo>
                      <a:pt x="96" y="824"/>
                    </a:lnTo>
                    <a:cubicBezTo>
                      <a:pt x="603" y="761"/>
                      <a:pt x="1141" y="666"/>
                      <a:pt x="1679" y="571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3" name="Google Shape;953;p27"/>
              <p:cNvSpPr/>
              <p:nvPr/>
            </p:nvSpPr>
            <p:spPr>
              <a:xfrm>
                <a:off x="6968158" y="3438503"/>
                <a:ext cx="53148" cy="26606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825" extrusionOk="0">
                    <a:moveTo>
                      <a:pt x="1584" y="1"/>
                    </a:moveTo>
                    <a:cubicBezTo>
                      <a:pt x="1046" y="64"/>
                      <a:pt x="507" y="128"/>
                      <a:pt x="1" y="223"/>
                    </a:cubicBezTo>
                    <a:lnTo>
                      <a:pt x="64" y="824"/>
                    </a:lnTo>
                    <a:cubicBezTo>
                      <a:pt x="602" y="729"/>
                      <a:pt x="1109" y="666"/>
                      <a:pt x="1648" y="571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4" name="Google Shape;954;p27"/>
              <p:cNvSpPr/>
              <p:nvPr/>
            </p:nvSpPr>
            <p:spPr>
              <a:xfrm>
                <a:off x="7175493" y="2655150"/>
                <a:ext cx="52116" cy="23542"/>
              </a:xfrm>
              <a:custGeom>
                <a:avLst/>
                <a:gdLst/>
                <a:ahLst/>
                <a:cxnLst/>
                <a:rect l="l" t="t" r="r" b="b"/>
                <a:pathLst>
                  <a:path w="1616" h="730" extrusionOk="0">
                    <a:moveTo>
                      <a:pt x="1584" y="1"/>
                    </a:moveTo>
                    <a:cubicBezTo>
                      <a:pt x="1046" y="32"/>
                      <a:pt x="507" y="96"/>
                      <a:pt x="1" y="127"/>
                    </a:cubicBezTo>
                    <a:lnTo>
                      <a:pt x="32" y="729"/>
                    </a:lnTo>
                    <a:cubicBezTo>
                      <a:pt x="571" y="698"/>
                      <a:pt x="1077" y="634"/>
                      <a:pt x="1616" y="603"/>
                    </a:cubicBez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5" name="Google Shape;955;p27"/>
              <p:cNvSpPr/>
              <p:nvPr/>
            </p:nvSpPr>
            <p:spPr>
              <a:xfrm>
                <a:off x="7271501" y="3042247"/>
                <a:ext cx="53148" cy="22510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698" extrusionOk="0">
                    <a:moveTo>
                      <a:pt x="1616" y="0"/>
                    </a:moveTo>
                    <a:cubicBezTo>
                      <a:pt x="1077" y="32"/>
                      <a:pt x="539" y="64"/>
                      <a:pt x="0" y="95"/>
                    </a:cubicBezTo>
                    <a:lnTo>
                      <a:pt x="32" y="697"/>
                    </a:lnTo>
                    <a:cubicBezTo>
                      <a:pt x="570" y="665"/>
                      <a:pt x="1109" y="634"/>
                      <a:pt x="1647" y="602"/>
                    </a:cubicBezTo>
                    <a:lnTo>
                      <a:pt x="1616" y="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6" name="Google Shape;956;p27"/>
              <p:cNvSpPr/>
              <p:nvPr/>
            </p:nvSpPr>
            <p:spPr>
              <a:xfrm>
                <a:off x="7482900" y="1884053"/>
                <a:ext cx="51116" cy="19447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603" extrusionOk="0">
                    <a:moveTo>
                      <a:pt x="1" y="1"/>
                    </a:moveTo>
                    <a:lnTo>
                      <a:pt x="1" y="603"/>
                    </a:lnTo>
                    <a:lnTo>
                      <a:pt x="1584" y="603"/>
                    </a:lnTo>
                    <a:lnTo>
                      <a:pt x="1584" y="1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7" name="Google Shape;957;p27"/>
              <p:cNvSpPr/>
              <p:nvPr/>
            </p:nvSpPr>
            <p:spPr>
              <a:xfrm>
                <a:off x="6474862" y="762656"/>
                <a:ext cx="2068225" cy="1544259"/>
              </a:xfrm>
              <a:custGeom>
                <a:avLst/>
                <a:gdLst/>
                <a:ahLst/>
                <a:cxnLst/>
                <a:rect l="l" t="t" r="r" b="b"/>
                <a:pathLst>
                  <a:path w="64131" h="47884" extrusionOk="0">
                    <a:moveTo>
                      <a:pt x="38605" y="0"/>
                    </a:moveTo>
                    <a:lnTo>
                      <a:pt x="38257" y="507"/>
                    </a:lnTo>
                    <a:cubicBezTo>
                      <a:pt x="38700" y="792"/>
                      <a:pt x="39144" y="1077"/>
                      <a:pt x="39587" y="1394"/>
                    </a:cubicBezTo>
                    <a:lnTo>
                      <a:pt x="39904" y="887"/>
                    </a:lnTo>
                    <a:cubicBezTo>
                      <a:pt x="39492" y="602"/>
                      <a:pt x="39049" y="285"/>
                      <a:pt x="38605" y="0"/>
                    </a:cubicBezTo>
                    <a:close/>
                    <a:moveTo>
                      <a:pt x="41234" y="1742"/>
                    </a:moveTo>
                    <a:lnTo>
                      <a:pt x="40917" y="2249"/>
                    </a:lnTo>
                    <a:lnTo>
                      <a:pt x="42215" y="3104"/>
                    </a:lnTo>
                    <a:lnTo>
                      <a:pt x="42564" y="2629"/>
                    </a:lnTo>
                    <a:lnTo>
                      <a:pt x="41234" y="1742"/>
                    </a:lnTo>
                    <a:close/>
                    <a:moveTo>
                      <a:pt x="43894" y="3484"/>
                    </a:moveTo>
                    <a:lnTo>
                      <a:pt x="43546" y="3991"/>
                    </a:lnTo>
                    <a:cubicBezTo>
                      <a:pt x="43989" y="4276"/>
                      <a:pt x="44432" y="4561"/>
                      <a:pt x="44876" y="4877"/>
                    </a:cubicBezTo>
                    <a:lnTo>
                      <a:pt x="45192" y="4371"/>
                    </a:lnTo>
                    <a:cubicBezTo>
                      <a:pt x="44749" y="4086"/>
                      <a:pt x="44306" y="3769"/>
                      <a:pt x="43894" y="3484"/>
                    </a:cubicBezTo>
                    <a:close/>
                    <a:moveTo>
                      <a:pt x="46522" y="5257"/>
                    </a:moveTo>
                    <a:lnTo>
                      <a:pt x="46174" y="5732"/>
                    </a:lnTo>
                    <a:cubicBezTo>
                      <a:pt x="46617" y="6049"/>
                      <a:pt x="47061" y="6334"/>
                      <a:pt x="47472" y="6619"/>
                    </a:cubicBezTo>
                    <a:lnTo>
                      <a:pt x="47821" y="6144"/>
                    </a:lnTo>
                    <a:cubicBezTo>
                      <a:pt x="47377" y="5859"/>
                      <a:pt x="46966" y="5542"/>
                      <a:pt x="46522" y="5257"/>
                    </a:cubicBezTo>
                    <a:close/>
                    <a:moveTo>
                      <a:pt x="49119" y="7031"/>
                    </a:moveTo>
                    <a:lnTo>
                      <a:pt x="48771" y="7538"/>
                    </a:lnTo>
                    <a:cubicBezTo>
                      <a:pt x="49214" y="7823"/>
                      <a:pt x="49626" y="8139"/>
                      <a:pt x="50069" y="8456"/>
                    </a:cubicBezTo>
                    <a:lnTo>
                      <a:pt x="50418" y="7981"/>
                    </a:lnTo>
                    <a:cubicBezTo>
                      <a:pt x="50006" y="7664"/>
                      <a:pt x="49563" y="7348"/>
                      <a:pt x="49119" y="7031"/>
                    </a:cubicBezTo>
                    <a:close/>
                    <a:moveTo>
                      <a:pt x="51684" y="8899"/>
                    </a:moveTo>
                    <a:lnTo>
                      <a:pt x="51336" y="9374"/>
                    </a:lnTo>
                    <a:cubicBezTo>
                      <a:pt x="51748" y="9723"/>
                      <a:pt x="52191" y="10039"/>
                      <a:pt x="52571" y="10356"/>
                    </a:cubicBezTo>
                    <a:lnTo>
                      <a:pt x="52951" y="9881"/>
                    </a:lnTo>
                    <a:cubicBezTo>
                      <a:pt x="52540" y="9564"/>
                      <a:pt x="52128" y="9248"/>
                      <a:pt x="51684" y="8899"/>
                    </a:cubicBezTo>
                    <a:close/>
                    <a:moveTo>
                      <a:pt x="54186" y="10863"/>
                    </a:moveTo>
                    <a:lnTo>
                      <a:pt x="53806" y="11338"/>
                    </a:lnTo>
                    <a:cubicBezTo>
                      <a:pt x="54218" y="11655"/>
                      <a:pt x="54630" y="12003"/>
                      <a:pt x="55010" y="12351"/>
                    </a:cubicBezTo>
                    <a:lnTo>
                      <a:pt x="55421" y="11876"/>
                    </a:lnTo>
                    <a:cubicBezTo>
                      <a:pt x="55010" y="11560"/>
                      <a:pt x="54630" y="11211"/>
                      <a:pt x="54186" y="10863"/>
                    </a:cubicBezTo>
                    <a:close/>
                    <a:moveTo>
                      <a:pt x="56593" y="12953"/>
                    </a:moveTo>
                    <a:lnTo>
                      <a:pt x="56181" y="13396"/>
                    </a:lnTo>
                    <a:cubicBezTo>
                      <a:pt x="56562" y="13745"/>
                      <a:pt x="56942" y="14125"/>
                      <a:pt x="57322" y="14473"/>
                    </a:cubicBezTo>
                    <a:lnTo>
                      <a:pt x="57733" y="14061"/>
                    </a:lnTo>
                    <a:cubicBezTo>
                      <a:pt x="57385" y="13713"/>
                      <a:pt x="56973" y="13333"/>
                      <a:pt x="56593" y="12953"/>
                    </a:cubicBezTo>
                    <a:close/>
                    <a:moveTo>
                      <a:pt x="58842" y="15233"/>
                    </a:moveTo>
                    <a:lnTo>
                      <a:pt x="58398" y="15613"/>
                    </a:lnTo>
                    <a:cubicBezTo>
                      <a:pt x="58747" y="16025"/>
                      <a:pt x="59095" y="16405"/>
                      <a:pt x="59412" y="16817"/>
                    </a:cubicBezTo>
                    <a:lnTo>
                      <a:pt x="59887" y="16437"/>
                    </a:lnTo>
                    <a:cubicBezTo>
                      <a:pt x="59538" y="16025"/>
                      <a:pt x="59190" y="15613"/>
                      <a:pt x="58842" y="15233"/>
                    </a:cubicBezTo>
                    <a:close/>
                    <a:moveTo>
                      <a:pt x="60837" y="17703"/>
                    </a:moveTo>
                    <a:lnTo>
                      <a:pt x="60362" y="18052"/>
                    </a:lnTo>
                    <a:cubicBezTo>
                      <a:pt x="60647" y="18495"/>
                      <a:pt x="60964" y="18938"/>
                      <a:pt x="61217" y="19350"/>
                    </a:cubicBezTo>
                    <a:lnTo>
                      <a:pt x="61724" y="19033"/>
                    </a:lnTo>
                    <a:cubicBezTo>
                      <a:pt x="61470" y="18590"/>
                      <a:pt x="61154" y="18147"/>
                      <a:pt x="60837" y="17703"/>
                    </a:cubicBezTo>
                    <a:close/>
                    <a:moveTo>
                      <a:pt x="62484" y="20458"/>
                    </a:moveTo>
                    <a:lnTo>
                      <a:pt x="61977" y="20712"/>
                    </a:lnTo>
                    <a:cubicBezTo>
                      <a:pt x="62199" y="21187"/>
                      <a:pt x="62420" y="21662"/>
                      <a:pt x="62579" y="22137"/>
                    </a:cubicBezTo>
                    <a:lnTo>
                      <a:pt x="63149" y="21915"/>
                    </a:lnTo>
                    <a:cubicBezTo>
                      <a:pt x="62959" y="21440"/>
                      <a:pt x="62737" y="20934"/>
                      <a:pt x="62484" y="20458"/>
                    </a:cubicBezTo>
                    <a:close/>
                    <a:moveTo>
                      <a:pt x="63655" y="23435"/>
                    </a:moveTo>
                    <a:lnTo>
                      <a:pt x="63054" y="23594"/>
                    </a:lnTo>
                    <a:cubicBezTo>
                      <a:pt x="63212" y="24100"/>
                      <a:pt x="63307" y="24607"/>
                      <a:pt x="63402" y="25114"/>
                    </a:cubicBezTo>
                    <a:lnTo>
                      <a:pt x="63972" y="25019"/>
                    </a:lnTo>
                    <a:cubicBezTo>
                      <a:pt x="63909" y="24512"/>
                      <a:pt x="63782" y="23974"/>
                      <a:pt x="63655" y="23435"/>
                    </a:cubicBezTo>
                    <a:close/>
                    <a:moveTo>
                      <a:pt x="63529" y="26634"/>
                    </a:moveTo>
                    <a:cubicBezTo>
                      <a:pt x="63529" y="26824"/>
                      <a:pt x="63560" y="27014"/>
                      <a:pt x="63560" y="27204"/>
                    </a:cubicBezTo>
                    <a:cubicBezTo>
                      <a:pt x="63560" y="27552"/>
                      <a:pt x="63529" y="27869"/>
                      <a:pt x="63497" y="28186"/>
                    </a:cubicBezTo>
                    <a:lnTo>
                      <a:pt x="64099" y="28249"/>
                    </a:lnTo>
                    <a:cubicBezTo>
                      <a:pt x="64130" y="27901"/>
                      <a:pt x="64130" y="27552"/>
                      <a:pt x="64130" y="27204"/>
                    </a:cubicBezTo>
                    <a:cubicBezTo>
                      <a:pt x="64130" y="27014"/>
                      <a:pt x="64130" y="26824"/>
                      <a:pt x="64130" y="26634"/>
                    </a:cubicBezTo>
                    <a:close/>
                    <a:moveTo>
                      <a:pt x="63275" y="29706"/>
                    </a:moveTo>
                    <a:cubicBezTo>
                      <a:pt x="63180" y="30212"/>
                      <a:pt x="63054" y="30719"/>
                      <a:pt x="62864" y="31194"/>
                    </a:cubicBezTo>
                    <a:lnTo>
                      <a:pt x="63434" y="31384"/>
                    </a:lnTo>
                    <a:cubicBezTo>
                      <a:pt x="63624" y="30878"/>
                      <a:pt x="63750" y="30371"/>
                      <a:pt x="63877" y="29832"/>
                    </a:cubicBezTo>
                    <a:lnTo>
                      <a:pt x="63275" y="29706"/>
                    </a:lnTo>
                    <a:close/>
                    <a:moveTo>
                      <a:pt x="62262" y="32588"/>
                    </a:moveTo>
                    <a:cubicBezTo>
                      <a:pt x="62040" y="33063"/>
                      <a:pt x="61787" y="33506"/>
                      <a:pt x="61502" y="33949"/>
                    </a:cubicBezTo>
                    <a:lnTo>
                      <a:pt x="62009" y="34266"/>
                    </a:lnTo>
                    <a:cubicBezTo>
                      <a:pt x="62294" y="33823"/>
                      <a:pt x="62579" y="33348"/>
                      <a:pt x="62800" y="32873"/>
                    </a:cubicBezTo>
                    <a:lnTo>
                      <a:pt x="62262" y="32588"/>
                    </a:lnTo>
                    <a:close/>
                    <a:moveTo>
                      <a:pt x="29674" y="34804"/>
                    </a:moveTo>
                    <a:cubicBezTo>
                      <a:pt x="29136" y="34804"/>
                      <a:pt x="28629" y="34836"/>
                      <a:pt x="28091" y="34836"/>
                    </a:cubicBezTo>
                    <a:lnTo>
                      <a:pt x="28123" y="35438"/>
                    </a:lnTo>
                    <a:cubicBezTo>
                      <a:pt x="28629" y="35438"/>
                      <a:pt x="29168" y="35406"/>
                      <a:pt x="29706" y="35406"/>
                    </a:cubicBezTo>
                    <a:lnTo>
                      <a:pt x="29674" y="34804"/>
                    </a:lnTo>
                    <a:close/>
                    <a:moveTo>
                      <a:pt x="26508" y="34899"/>
                    </a:moveTo>
                    <a:cubicBezTo>
                      <a:pt x="25969" y="34931"/>
                      <a:pt x="25462" y="34963"/>
                      <a:pt x="24924" y="34994"/>
                    </a:cubicBezTo>
                    <a:lnTo>
                      <a:pt x="24956" y="35565"/>
                    </a:lnTo>
                    <a:cubicBezTo>
                      <a:pt x="25494" y="35533"/>
                      <a:pt x="26001" y="35533"/>
                      <a:pt x="26539" y="35501"/>
                    </a:cubicBezTo>
                    <a:lnTo>
                      <a:pt x="26508" y="34899"/>
                    </a:lnTo>
                    <a:close/>
                    <a:moveTo>
                      <a:pt x="23341" y="35089"/>
                    </a:moveTo>
                    <a:cubicBezTo>
                      <a:pt x="22802" y="35121"/>
                      <a:pt x="22296" y="35153"/>
                      <a:pt x="21757" y="35216"/>
                    </a:cubicBezTo>
                    <a:lnTo>
                      <a:pt x="21821" y="35786"/>
                    </a:lnTo>
                    <a:cubicBezTo>
                      <a:pt x="22327" y="35755"/>
                      <a:pt x="22866" y="35723"/>
                      <a:pt x="23404" y="35691"/>
                    </a:cubicBezTo>
                    <a:lnTo>
                      <a:pt x="23341" y="35089"/>
                    </a:lnTo>
                    <a:close/>
                    <a:moveTo>
                      <a:pt x="20174" y="35343"/>
                    </a:moveTo>
                    <a:cubicBezTo>
                      <a:pt x="19667" y="35406"/>
                      <a:pt x="19129" y="35470"/>
                      <a:pt x="18622" y="35533"/>
                    </a:cubicBezTo>
                    <a:lnTo>
                      <a:pt x="18685" y="36103"/>
                    </a:lnTo>
                    <a:cubicBezTo>
                      <a:pt x="19192" y="36040"/>
                      <a:pt x="19730" y="35976"/>
                      <a:pt x="20237" y="35945"/>
                    </a:cubicBezTo>
                    <a:lnTo>
                      <a:pt x="20174" y="35343"/>
                    </a:lnTo>
                    <a:close/>
                    <a:moveTo>
                      <a:pt x="17039" y="35723"/>
                    </a:moveTo>
                    <a:cubicBezTo>
                      <a:pt x="16500" y="35786"/>
                      <a:pt x="15993" y="35850"/>
                      <a:pt x="15455" y="35945"/>
                    </a:cubicBezTo>
                    <a:lnTo>
                      <a:pt x="15550" y="36546"/>
                    </a:lnTo>
                    <a:cubicBezTo>
                      <a:pt x="16057" y="36451"/>
                      <a:pt x="16595" y="36388"/>
                      <a:pt x="17134" y="36325"/>
                    </a:cubicBezTo>
                    <a:lnTo>
                      <a:pt x="17039" y="35723"/>
                    </a:lnTo>
                    <a:close/>
                    <a:moveTo>
                      <a:pt x="60583" y="35185"/>
                    </a:moveTo>
                    <a:cubicBezTo>
                      <a:pt x="60267" y="35565"/>
                      <a:pt x="59918" y="35945"/>
                      <a:pt x="59538" y="36325"/>
                    </a:cubicBezTo>
                    <a:lnTo>
                      <a:pt x="59950" y="36736"/>
                    </a:lnTo>
                    <a:cubicBezTo>
                      <a:pt x="60330" y="36356"/>
                      <a:pt x="60710" y="35945"/>
                      <a:pt x="61027" y="35565"/>
                    </a:cubicBezTo>
                    <a:lnTo>
                      <a:pt x="60583" y="35185"/>
                    </a:lnTo>
                    <a:close/>
                    <a:moveTo>
                      <a:pt x="13903" y="36198"/>
                    </a:moveTo>
                    <a:cubicBezTo>
                      <a:pt x="13365" y="36293"/>
                      <a:pt x="12858" y="36388"/>
                      <a:pt x="12351" y="36483"/>
                    </a:cubicBezTo>
                    <a:lnTo>
                      <a:pt x="12446" y="37053"/>
                    </a:lnTo>
                    <a:cubicBezTo>
                      <a:pt x="12953" y="36958"/>
                      <a:pt x="13492" y="36863"/>
                      <a:pt x="13998" y="36768"/>
                    </a:cubicBezTo>
                    <a:lnTo>
                      <a:pt x="13903" y="36198"/>
                    </a:lnTo>
                    <a:close/>
                    <a:moveTo>
                      <a:pt x="10768" y="36800"/>
                    </a:moveTo>
                    <a:cubicBezTo>
                      <a:pt x="10261" y="36926"/>
                      <a:pt x="9723" y="37053"/>
                      <a:pt x="9248" y="37180"/>
                    </a:cubicBezTo>
                    <a:lnTo>
                      <a:pt x="9375" y="37750"/>
                    </a:lnTo>
                    <a:cubicBezTo>
                      <a:pt x="9881" y="37623"/>
                      <a:pt x="10388" y="37496"/>
                      <a:pt x="10926" y="37370"/>
                    </a:cubicBezTo>
                    <a:lnTo>
                      <a:pt x="10768" y="36800"/>
                    </a:lnTo>
                    <a:close/>
                    <a:moveTo>
                      <a:pt x="7696" y="37591"/>
                    </a:moveTo>
                    <a:cubicBezTo>
                      <a:pt x="7158" y="37750"/>
                      <a:pt x="6651" y="37908"/>
                      <a:pt x="6176" y="38066"/>
                    </a:cubicBezTo>
                    <a:lnTo>
                      <a:pt x="6366" y="38636"/>
                    </a:lnTo>
                    <a:cubicBezTo>
                      <a:pt x="6841" y="38478"/>
                      <a:pt x="7348" y="38320"/>
                      <a:pt x="7854" y="38161"/>
                    </a:cubicBezTo>
                    <a:lnTo>
                      <a:pt x="7696" y="37591"/>
                    </a:lnTo>
                    <a:close/>
                    <a:moveTo>
                      <a:pt x="58398" y="37370"/>
                    </a:moveTo>
                    <a:cubicBezTo>
                      <a:pt x="58018" y="37686"/>
                      <a:pt x="57607" y="38035"/>
                      <a:pt x="57163" y="38351"/>
                    </a:cubicBezTo>
                    <a:lnTo>
                      <a:pt x="57512" y="38826"/>
                    </a:lnTo>
                    <a:cubicBezTo>
                      <a:pt x="57955" y="38510"/>
                      <a:pt x="58367" y="38161"/>
                      <a:pt x="58778" y="37813"/>
                    </a:cubicBezTo>
                    <a:lnTo>
                      <a:pt x="58398" y="37370"/>
                    </a:lnTo>
                    <a:close/>
                    <a:moveTo>
                      <a:pt x="4688" y="38636"/>
                    </a:moveTo>
                    <a:cubicBezTo>
                      <a:pt x="4149" y="38858"/>
                      <a:pt x="3674" y="39080"/>
                      <a:pt x="3231" y="39301"/>
                    </a:cubicBezTo>
                    <a:lnTo>
                      <a:pt x="3484" y="39840"/>
                    </a:lnTo>
                    <a:cubicBezTo>
                      <a:pt x="3928" y="39618"/>
                      <a:pt x="4403" y="39396"/>
                      <a:pt x="4909" y="39175"/>
                    </a:cubicBezTo>
                    <a:lnTo>
                      <a:pt x="4688" y="38636"/>
                    </a:lnTo>
                    <a:close/>
                    <a:moveTo>
                      <a:pt x="55865" y="39206"/>
                    </a:moveTo>
                    <a:cubicBezTo>
                      <a:pt x="55453" y="39491"/>
                      <a:pt x="54978" y="39776"/>
                      <a:pt x="54535" y="40030"/>
                    </a:cubicBezTo>
                    <a:lnTo>
                      <a:pt x="54820" y="40537"/>
                    </a:lnTo>
                    <a:cubicBezTo>
                      <a:pt x="55295" y="40283"/>
                      <a:pt x="55770" y="39998"/>
                      <a:pt x="56213" y="39713"/>
                    </a:cubicBezTo>
                    <a:lnTo>
                      <a:pt x="55865" y="39206"/>
                    </a:lnTo>
                    <a:close/>
                    <a:moveTo>
                      <a:pt x="1837" y="40157"/>
                    </a:moveTo>
                    <a:cubicBezTo>
                      <a:pt x="1331" y="40505"/>
                      <a:pt x="919" y="40917"/>
                      <a:pt x="634" y="41297"/>
                    </a:cubicBezTo>
                    <a:lnTo>
                      <a:pt x="1109" y="41645"/>
                    </a:lnTo>
                    <a:cubicBezTo>
                      <a:pt x="1362" y="41297"/>
                      <a:pt x="1711" y="40980"/>
                      <a:pt x="2186" y="40632"/>
                    </a:cubicBezTo>
                    <a:lnTo>
                      <a:pt x="1837" y="40157"/>
                    </a:lnTo>
                    <a:close/>
                    <a:moveTo>
                      <a:pt x="53173" y="40790"/>
                    </a:moveTo>
                    <a:cubicBezTo>
                      <a:pt x="52698" y="41012"/>
                      <a:pt x="52223" y="41233"/>
                      <a:pt x="51748" y="41455"/>
                    </a:cubicBezTo>
                    <a:lnTo>
                      <a:pt x="52001" y="41993"/>
                    </a:lnTo>
                    <a:cubicBezTo>
                      <a:pt x="52476" y="41772"/>
                      <a:pt x="52951" y="41550"/>
                      <a:pt x="53426" y="41297"/>
                    </a:cubicBezTo>
                    <a:lnTo>
                      <a:pt x="53173" y="40790"/>
                    </a:lnTo>
                    <a:close/>
                    <a:moveTo>
                      <a:pt x="50291" y="42088"/>
                    </a:moveTo>
                    <a:cubicBezTo>
                      <a:pt x="49816" y="42278"/>
                      <a:pt x="49341" y="42468"/>
                      <a:pt x="48834" y="42658"/>
                    </a:cubicBezTo>
                    <a:lnTo>
                      <a:pt x="49056" y="43228"/>
                    </a:lnTo>
                    <a:cubicBezTo>
                      <a:pt x="49563" y="43038"/>
                      <a:pt x="50069" y="42817"/>
                      <a:pt x="50544" y="42627"/>
                    </a:cubicBezTo>
                    <a:lnTo>
                      <a:pt x="50291" y="42088"/>
                    </a:lnTo>
                    <a:close/>
                    <a:moveTo>
                      <a:pt x="47346" y="43197"/>
                    </a:moveTo>
                    <a:cubicBezTo>
                      <a:pt x="46871" y="43355"/>
                      <a:pt x="46364" y="43513"/>
                      <a:pt x="45857" y="43672"/>
                    </a:cubicBezTo>
                    <a:lnTo>
                      <a:pt x="46047" y="44242"/>
                    </a:lnTo>
                    <a:cubicBezTo>
                      <a:pt x="46554" y="44083"/>
                      <a:pt x="47061" y="43925"/>
                      <a:pt x="47536" y="43767"/>
                    </a:cubicBezTo>
                    <a:lnTo>
                      <a:pt x="47346" y="43197"/>
                    </a:lnTo>
                    <a:close/>
                    <a:moveTo>
                      <a:pt x="1" y="42880"/>
                    </a:moveTo>
                    <a:lnTo>
                      <a:pt x="1" y="42943"/>
                    </a:lnTo>
                    <a:cubicBezTo>
                      <a:pt x="1" y="43482"/>
                      <a:pt x="254" y="44020"/>
                      <a:pt x="761" y="44495"/>
                    </a:cubicBezTo>
                    <a:lnTo>
                      <a:pt x="1172" y="44052"/>
                    </a:lnTo>
                    <a:cubicBezTo>
                      <a:pt x="792" y="43703"/>
                      <a:pt x="602" y="43323"/>
                      <a:pt x="602" y="42943"/>
                    </a:cubicBezTo>
                    <a:lnTo>
                      <a:pt x="602" y="42912"/>
                    </a:lnTo>
                    <a:lnTo>
                      <a:pt x="1" y="42880"/>
                    </a:lnTo>
                    <a:close/>
                    <a:moveTo>
                      <a:pt x="44369" y="44115"/>
                    </a:moveTo>
                    <a:cubicBezTo>
                      <a:pt x="43862" y="44273"/>
                      <a:pt x="43356" y="44400"/>
                      <a:pt x="42849" y="44527"/>
                    </a:cubicBezTo>
                    <a:lnTo>
                      <a:pt x="42975" y="45129"/>
                    </a:lnTo>
                    <a:cubicBezTo>
                      <a:pt x="43482" y="44970"/>
                      <a:pt x="44021" y="44844"/>
                      <a:pt x="44527" y="44685"/>
                    </a:cubicBezTo>
                    <a:lnTo>
                      <a:pt x="44369" y="44115"/>
                    </a:lnTo>
                    <a:close/>
                    <a:moveTo>
                      <a:pt x="41297" y="44907"/>
                    </a:moveTo>
                    <a:cubicBezTo>
                      <a:pt x="40790" y="45034"/>
                      <a:pt x="40284" y="45160"/>
                      <a:pt x="39777" y="45255"/>
                    </a:cubicBezTo>
                    <a:lnTo>
                      <a:pt x="39904" y="45857"/>
                    </a:lnTo>
                    <a:cubicBezTo>
                      <a:pt x="40410" y="45730"/>
                      <a:pt x="40917" y="45604"/>
                      <a:pt x="41455" y="45509"/>
                    </a:cubicBezTo>
                    <a:lnTo>
                      <a:pt x="41297" y="44907"/>
                    </a:lnTo>
                    <a:close/>
                    <a:moveTo>
                      <a:pt x="2407" y="44875"/>
                    </a:moveTo>
                    <a:lnTo>
                      <a:pt x="2154" y="45414"/>
                    </a:lnTo>
                    <a:cubicBezTo>
                      <a:pt x="2597" y="45604"/>
                      <a:pt x="3104" y="45825"/>
                      <a:pt x="3642" y="46015"/>
                    </a:cubicBezTo>
                    <a:lnTo>
                      <a:pt x="3833" y="45445"/>
                    </a:lnTo>
                    <a:cubicBezTo>
                      <a:pt x="3294" y="45255"/>
                      <a:pt x="2819" y="45065"/>
                      <a:pt x="2407" y="44875"/>
                    </a:cubicBezTo>
                    <a:close/>
                    <a:moveTo>
                      <a:pt x="38225" y="45572"/>
                    </a:moveTo>
                    <a:cubicBezTo>
                      <a:pt x="37718" y="45667"/>
                      <a:pt x="37180" y="45762"/>
                      <a:pt x="36673" y="45857"/>
                    </a:cubicBezTo>
                    <a:lnTo>
                      <a:pt x="36768" y="46427"/>
                    </a:lnTo>
                    <a:cubicBezTo>
                      <a:pt x="37307" y="46364"/>
                      <a:pt x="37813" y="46269"/>
                      <a:pt x="38320" y="46142"/>
                    </a:cubicBezTo>
                    <a:lnTo>
                      <a:pt x="38225" y="45572"/>
                    </a:lnTo>
                    <a:close/>
                    <a:moveTo>
                      <a:pt x="5353" y="45889"/>
                    </a:moveTo>
                    <a:lnTo>
                      <a:pt x="5194" y="46459"/>
                    </a:lnTo>
                    <a:cubicBezTo>
                      <a:pt x="5669" y="46585"/>
                      <a:pt x="6208" y="46712"/>
                      <a:pt x="6746" y="46807"/>
                    </a:cubicBezTo>
                    <a:lnTo>
                      <a:pt x="6873" y="46237"/>
                    </a:lnTo>
                    <a:cubicBezTo>
                      <a:pt x="6334" y="46142"/>
                      <a:pt x="5828" y="46015"/>
                      <a:pt x="5353" y="45889"/>
                    </a:cubicBezTo>
                    <a:close/>
                    <a:moveTo>
                      <a:pt x="35122" y="46110"/>
                    </a:moveTo>
                    <a:cubicBezTo>
                      <a:pt x="34583" y="46205"/>
                      <a:pt x="34076" y="46269"/>
                      <a:pt x="33538" y="46332"/>
                    </a:cubicBezTo>
                    <a:lnTo>
                      <a:pt x="33633" y="46934"/>
                    </a:lnTo>
                    <a:cubicBezTo>
                      <a:pt x="34140" y="46870"/>
                      <a:pt x="34678" y="46775"/>
                      <a:pt x="35217" y="46712"/>
                    </a:cubicBezTo>
                    <a:lnTo>
                      <a:pt x="35122" y="46110"/>
                    </a:lnTo>
                    <a:close/>
                    <a:moveTo>
                      <a:pt x="31986" y="46554"/>
                    </a:moveTo>
                    <a:cubicBezTo>
                      <a:pt x="31448" y="46617"/>
                      <a:pt x="30941" y="46680"/>
                      <a:pt x="30403" y="46712"/>
                    </a:cubicBezTo>
                    <a:lnTo>
                      <a:pt x="30466" y="47314"/>
                    </a:lnTo>
                    <a:cubicBezTo>
                      <a:pt x="31005" y="47250"/>
                      <a:pt x="31511" y="47219"/>
                      <a:pt x="32050" y="47155"/>
                    </a:cubicBezTo>
                    <a:lnTo>
                      <a:pt x="31986" y="46554"/>
                    </a:lnTo>
                    <a:close/>
                    <a:moveTo>
                      <a:pt x="8425" y="46522"/>
                    </a:moveTo>
                    <a:lnTo>
                      <a:pt x="8298" y="47092"/>
                    </a:lnTo>
                    <a:cubicBezTo>
                      <a:pt x="8805" y="47187"/>
                      <a:pt x="9343" y="47250"/>
                      <a:pt x="9881" y="47345"/>
                    </a:cubicBezTo>
                    <a:lnTo>
                      <a:pt x="9976" y="46744"/>
                    </a:lnTo>
                    <a:cubicBezTo>
                      <a:pt x="9438" y="46680"/>
                      <a:pt x="8900" y="46585"/>
                      <a:pt x="8425" y="46522"/>
                    </a:cubicBezTo>
                    <a:close/>
                    <a:moveTo>
                      <a:pt x="28851" y="46870"/>
                    </a:moveTo>
                    <a:cubicBezTo>
                      <a:pt x="28313" y="46934"/>
                      <a:pt x="27806" y="46965"/>
                      <a:pt x="27268" y="46997"/>
                    </a:cubicBezTo>
                    <a:lnTo>
                      <a:pt x="27331" y="47599"/>
                    </a:lnTo>
                    <a:cubicBezTo>
                      <a:pt x="27838" y="47567"/>
                      <a:pt x="28376" y="47535"/>
                      <a:pt x="28914" y="47472"/>
                    </a:cubicBezTo>
                    <a:lnTo>
                      <a:pt x="28851" y="46870"/>
                    </a:lnTo>
                    <a:close/>
                    <a:moveTo>
                      <a:pt x="11528" y="46934"/>
                    </a:moveTo>
                    <a:lnTo>
                      <a:pt x="11465" y="47504"/>
                    </a:lnTo>
                    <a:cubicBezTo>
                      <a:pt x="11971" y="47567"/>
                      <a:pt x="12510" y="47599"/>
                      <a:pt x="13048" y="47662"/>
                    </a:cubicBezTo>
                    <a:lnTo>
                      <a:pt x="13080" y="47060"/>
                    </a:lnTo>
                    <a:cubicBezTo>
                      <a:pt x="12573" y="47029"/>
                      <a:pt x="12035" y="46965"/>
                      <a:pt x="11528" y="46934"/>
                    </a:cubicBezTo>
                    <a:close/>
                    <a:moveTo>
                      <a:pt x="25716" y="47124"/>
                    </a:moveTo>
                    <a:cubicBezTo>
                      <a:pt x="25177" y="47155"/>
                      <a:pt x="24639" y="47187"/>
                      <a:pt x="24132" y="47187"/>
                    </a:cubicBezTo>
                    <a:lnTo>
                      <a:pt x="24164" y="47789"/>
                    </a:lnTo>
                    <a:cubicBezTo>
                      <a:pt x="24671" y="47757"/>
                      <a:pt x="25209" y="47757"/>
                      <a:pt x="25748" y="47694"/>
                    </a:cubicBezTo>
                    <a:lnTo>
                      <a:pt x="25716" y="47124"/>
                    </a:lnTo>
                    <a:close/>
                    <a:moveTo>
                      <a:pt x="14663" y="47155"/>
                    </a:moveTo>
                    <a:lnTo>
                      <a:pt x="14632" y="47757"/>
                    </a:lnTo>
                    <a:cubicBezTo>
                      <a:pt x="15138" y="47789"/>
                      <a:pt x="15677" y="47820"/>
                      <a:pt x="16215" y="47852"/>
                    </a:cubicBezTo>
                    <a:lnTo>
                      <a:pt x="16247" y="47250"/>
                    </a:lnTo>
                    <a:cubicBezTo>
                      <a:pt x="15708" y="47219"/>
                      <a:pt x="15170" y="47187"/>
                      <a:pt x="14663" y="47155"/>
                    </a:cubicBezTo>
                    <a:close/>
                    <a:moveTo>
                      <a:pt x="17830" y="47282"/>
                    </a:moveTo>
                    <a:lnTo>
                      <a:pt x="17799" y="47884"/>
                    </a:lnTo>
                    <a:lnTo>
                      <a:pt x="19382" y="47884"/>
                    </a:lnTo>
                    <a:lnTo>
                      <a:pt x="19382" y="47314"/>
                    </a:lnTo>
                    <a:cubicBezTo>
                      <a:pt x="18875" y="47314"/>
                      <a:pt x="18337" y="47282"/>
                      <a:pt x="17830" y="47282"/>
                    </a:cubicBezTo>
                    <a:close/>
                    <a:moveTo>
                      <a:pt x="22549" y="47250"/>
                    </a:moveTo>
                    <a:cubicBezTo>
                      <a:pt x="22011" y="47282"/>
                      <a:pt x="21504" y="47282"/>
                      <a:pt x="20965" y="47282"/>
                    </a:cubicBezTo>
                    <a:lnTo>
                      <a:pt x="20965" y="47884"/>
                    </a:lnTo>
                    <a:cubicBezTo>
                      <a:pt x="21504" y="47884"/>
                      <a:pt x="22042" y="47852"/>
                      <a:pt x="22549" y="47852"/>
                    </a:cubicBezTo>
                    <a:lnTo>
                      <a:pt x="22549" y="47250"/>
                    </a:lnTo>
                    <a:close/>
                  </a:path>
                </a:pathLst>
              </a:custGeom>
              <a:gradFill>
                <a:gsLst>
                  <a:gs pos="21000">
                    <a:schemeClr val="accent1">
                      <a:alpha val="85000"/>
                    </a:schemeClr>
                  </a:gs>
                  <a:gs pos="100000">
                    <a:schemeClr val="accent2">
                      <a:alpha val="90000"/>
                    </a:schemeClr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/>
                <a:endParaRPr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958" name="Google Shape;958;p27"/>
            <p:cNvSpPr/>
            <p:nvPr/>
          </p:nvSpPr>
          <p:spPr>
            <a:xfrm>
              <a:off x="5291158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0" y="0"/>
                  </a:moveTo>
                  <a:lnTo>
                    <a:pt x="0" y="602"/>
                  </a:lnTo>
                  <a:lnTo>
                    <a:pt x="1615" y="602"/>
                  </a:lnTo>
                  <a:lnTo>
                    <a:pt x="1615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59" name="Google Shape;959;p27"/>
            <p:cNvSpPr/>
            <p:nvPr/>
          </p:nvSpPr>
          <p:spPr>
            <a:xfrm>
              <a:off x="5705796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616" y="602"/>
                  </a:lnTo>
                  <a:lnTo>
                    <a:pt x="1616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0" name="Google Shape;960;p27"/>
            <p:cNvSpPr/>
            <p:nvPr/>
          </p:nvSpPr>
          <p:spPr>
            <a:xfrm>
              <a:off x="5601629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616" y="602"/>
                  </a:lnTo>
                  <a:lnTo>
                    <a:pt x="1616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1" name="Google Shape;961;p27"/>
            <p:cNvSpPr/>
            <p:nvPr/>
          </p:nvSpPr>
          <p:spPr>
            <a:xfrm>
              <a:off x="5808964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0" y="0"/>
                  </a:moveTo>
                  <a:lnTo>
                    <a:pt x="0" y="602"/>
                  </a:lnTo>
                  <a:lnTo>
                    <a:pt x="1615" y="602"/>
                  </a:lnTo>
                  <a:lnTo>
                    <a:pt x="1615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2" name="Google Shape;962;p27"/>
            <p:cNvSpPr/>
            <p:nvPr/>
          </p:nvSpPr>
          <p:spPr>
            <a:xfrm>
              <a:off x="5913131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616" y="602"/>
                  </a:lnTo>
                  <a:lnTo>
                    <a:pt x="1616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3" name="Google Shape;963;p27"/>
            <p:cNvSpPr/>
            <p:nvPr/>
          </p:nvSpPr>
          <p:spPr>
            <a:xfrm>
              <a:off x="5186958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616" y="602"/>
                  </a:lnTo>
                  <a:lnTo>
                    <a:pt x="1616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4" name="Google Shape;964;p27"/>
            <p:cNvSpPr/>
            <p:nvPr/>
          </p:nvSpPr>
          <p:spPr>
            <a:xfrm>
              <a:off x="5083823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0" y="0"/>
                  </a:moveTo>
                  <a:lnTo>
                    <a:pt x="0" y="602"/>
                  </a:lnTo>
                  <a:lnTo>
                    <a:pt x="1615" y="602"/>
                  </a:lnTo>
                  <a:lnTo>
                    <a:pt x="1615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5" name="Google Shape;965;p27"/>
            <p:cNvSpPr/>
            <p:nvPr/>
          </p:nvSpPr>
          <p:spPr>
            <a:xfrm>
              <a:off x="4979655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0" y="0"/>
                  </a:moveTo>
                  <a:lnTo>
                    <a:pt x="0" y="602"/>
                  </a:lnTo>
                  <a:lnTo>
                    <a:pt x="1615" y="602"/>
                  </a:lnTo>
                  <a:lnTo>
                    <a:pt x="1615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6" name="Google Shape;966;p27"/>
            <p:cNvSpPr/>
            <p:nvPr/>
          </p:nvSpPr>
          <p:spPr>
            <a:xfrm>
              <a:off x="5498461" y="4572187"/>
              <a:ext cx="52148" cy="19447"/>
            </a:xfrm>
            <a:custGeom>
              <a:avLst/>
              <a:gdLst/>
              <a:ahLst/>
              <a:cxnLst/>
              <a:rect l="l" t="t" r="r" b="b"/>
              <a:pathLst>
                <a:path w="1617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616" y="602"/>
                  </a:lnTo>
                  <a:lnTo>
                    <a:pt x="1616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7" name="Google Shape;967;p27"/>
            <p:cNvSpPr/>
            <p:nvPr/>
          </p:nvSpPr>
          <p:spPr>
            <a:xfrm>
              <a:off x="5394293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1" y="0"/>
                  </a:moveTo>
                  <a:lnTo>
                    <a:pt x="1" y="602"/>
                  </a:lnTo>
                  <a:lnTo>
                    <a:pt x="1616" y="602"/>
                  </a:lnTo>
                  <a:lnTo>
                    <a:pt x="1616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8" name="Google Shape;968;p27"/>
            <p:cNvSpPr/>
            <p:nvPr/>
          </p:nvSpPr>
          <p:spPr>
            <a:xfrm>
              <a:off x="6016299" y="4572187"/>
              <a:ext cx="52116" cy="19447"/>
            </a:xfrm>
            <a:custGeom>
              <a:avLst/>
              <a:gdLst/>
              <a:ahLst/>
              <a:cxnLst/>
              <a:rect l="l" t="t" r="r" b="b"/>
              <a:pathLst>
                <a:path w="1616" h="603" extrusionOk="0">
                  <a:moveTo>
                    <a:pt x="0" y="0"/>
                  </a:moveTo>
                  <a:lnTo>
                    <a:pt x="0" y="602"/>
                  </a:lnTo>
                  <a:lnTo>
                    <a:pt x="1615" y="602"/>
                  </a:lnTo>
                  <a:lnTo>
                    <a:pt x="1615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969" name="Google Shape;969;p27"/>
            <p:cNvSpPr/>
            <p:nvPr/>
          </p:nvSpPr>
          <p:spPr>
            <a:xfrm>
              <a:off x="3175977" y="4572187"/>
              <a:ext cx="1757722" cy="19447"/>
            </a:xfrm>
            <a:custGeom>
              <a:avLst/>
              <a:gdLst/>
              <a:ahLst/>
              <a:cxnLst/>
              <a:rect l="l" t="t" r="r" b="b"/>
              <a:pathLst>
                <a:path w="54503" h="603" extrusionOk="0">
                  <a:moveTo>
                    <a:pt x="0" y="0"/>
                  </a:moveTo>
                  <a:lnTo>
                    <a:pt x="0" y="602"/>
                  </a:lnTo>
                  <a:lnTo>
                    <a:pt x="254" y="602"/>
                  </a:lnTo>
                  <a:lnTo>
                    <a:pt x="254" y="0"/>
                  </a:lnTo>
                  <a:close/>
                  <a:moveTo>
                    <a:pt x="1837" y="0"/>
                  </a:moveTo>
                  <a:lnTo>
                    <a:pt x="1837" y="602"/>
                  </a:lnTo>
                  <a:lnTo>
                    <a:pt x="3452" y="602"/>
                  </a:lnTo>
                  <a:lnTo>
                    <a:pt x="3452" y="0"/>
                  </a:lnTo>
                  <a:close/>
                  <a:moveTo>
                    <a:pt x="5036" y="0"/>
                  </a:moveTo>
                  <a:lnTo>
                    <a:pt x="5036" y="602"/>
                  </a:lnTo>
                  <a:lnTo>
                    <a:pt x="6619" y="602"/>
                  </a:lnTo>
                  <a:lnTo>
                    <a:pt x="6619" y="0"/>
                  </a:lnTo>
                  <a:close/>
                  <a:moveTo>
                    <a:pt x="8234" y="0"/>
                  </a:moveTo>
                  <a:lnTo>
                    <a:pt x="8234" y="602"/>
                  </a:lnTo>
                  <a:lnTo>
                    <a:pt x="9818" y="602"/>
                  </a:lnTo>
                  <a:lnTo>
                    <a:pt x="9818" y="0"/>
                  </a:lnTo>
                  <a:close/>
                  <a:moveTo>
                    <a:pt x="11401" y="0"/>
                  </a:moveTo>
                  <a:lnTo>
                    <a:pt x="11401" y="602"/>
                  </a:lnTo>
                  <a:lnTo>
                    <a:pt x="13016" y="602"/>
                  </a:lnTo>
                  <a:lnTo>
                    <a:pt x="13016" y="0"/>
                  </a:lnTo>
                  <a:close/>
                  <a:moveTo>
                    <a:pt x="14600" y="0"/>
                  </a:moveTo>
                  <a:lnTo>
                    <a:pt x="14600" y="602"/>
                  </a:lnTo>
                  <a:lnTo>
                    <a:pt x="16215" y="602"/>
                  </a:lnTo>
                  <a:lnTo>
                    <a:pt x="16215" y="0"/>
                  </a:lnTo>
                  <a:close/>
                  <a:moveTo>
                    <a:pt x="17798" y="0"/>
                  </a:moveTo>
                  <a:lnTo>
                    <a:pt x="17798" y="602"/>
                  </a:lnTo>
                  <a:lnTo>
                    <a:pt x="19382" y="602"/>
                  </a:lnTo>
                  <a:lnTo>
                    <a:pt x="19382" y="0"/>
                  </a:lnTo>
                  <a:close/>
                  <a:moveTo>
                    <a:pt x="20997" y="0"/>
                  </a:moveTo>
                  <a:lnTo>
                    <a:pt x="20997" y="602"/>
                  </a:lnTo>
                  <a:lnTo>
                    <a:pt x="22581" y="602"/>
                  </a:lnTo>
                  <a:lnTo>
                    <a:pt x="22581" y="0"/>
                  </a:lnTo>
                  <a:close/>
                  <a:moveTo>
                    <a:pt x="24164" y="0"/>
                  </a:moveTo>
                  <a:lnTo>
                    <a:pt x="24164" y="602"/>
                  </a:lnTo>
                  <a:lnTo>
                    <a:pt x="25779" y="602"/>
                  </a:lnTo>
                  <a:lnTo>
                    <a:pt x="25779" y="0"/>
                  </a:lnTo>
                  <a:close/>
                  <a:moveTo>
                    <a:pt x="27363" y="0"/>
                  </a:moveTo>
                  <a:lnTo>
                    <a:pt x="27363" y="602"/>
                  </a:lnTo>
                  <a:lnTo>
                    <a:pt x="28978" y="602"/>
                  </a:lnTo>
                  <a:lnTo>
                    <a:pt x="28978" y="0"/>
                  </a:lnTo>
                  <a:close/>
                  <a:moveTo>
                    <a:pt x="30561" y="0"/>
                  </a:moveTo>
                  <a:lnTo>
                    <a:pt x="30561" y="602"/>
                  </a:lnTo>
                  <a:lnTo>
                    <a:pt x="32145" y="602"/>
                  </a:lnTo>
                  <a:lnTo>
                    <a:pt x="32145" y="0"/>
                  </a:lnTo>
                  <a:close/>
                  <a:moveTo>
                    <a:pt x="33760" y="0"/>
                  </a:moveTo>
                  <a:lnTo>
                    <a:pt x="33760" y="602"/>
                  </a:lnTo>
                  <a:lnTo>
                    <a:pt x="35343" y="602"/>
                  </a:lnTo>
                  <a:lnTo>
                    <a:pt x="35343" y="0"/>
                  </a:lnTo>
                  <a:close/>
                  <a:moveTo>
                    <a:pt x="36927" y="0"/>
                  </a:moveTo>
                  <a:lnTo>
                    <a:pt x="36927" y="602"/>
                  </a:lnTo>
                  <a:lnTo>
                    <a:pt x="38542" y="602"/>
                  </a:lnTo>
                  <a:lnTo>
                    <a:pt x="38542" y="0"/>
                  </a:lnTo>
                  <a:close/>
                  <a:moveTo>
                    <a:pt x="40125" y="0"/>
                  </a:moveTo>
                  <a:lnTo>
                    <a:pt x="40125" y="602"/>
                  </a:lnTo>
                  <a:lnTo>
                    <a:pt x="41740" y="602"/>
                  </a:lnTo>
                  <a:lnTo>
                    <a:pt x="41740" y="0"/>
                  </a:lnTo>
                  <a:close/>
                  <a:moveTo>
                    <a:pt x="43324" y="0"/>
                  </a:moveTo>
                  <a:lnTo>
                    <a:pt x="43324" y="602"/>
                  </a:lnTo>
                  <a:lnTo>
                    <a:pt x="44907" y="602"/>
                  </a:lnTo>
                  <a:lnTo>
                    <a:pt x="44907" y="0"/>
                  </a:lnTo>
                  <a:close/>
                  <a:moveTo>
                    <a:pt x="46522" y="0"/>
                  </a:moveTo>
                  <a:lnTo>
                    <a:pt x="46522" y="602"/>
                  </a:lnTo>
                  <a:lnTo>
                    <a:pt x="48106" y="602"/>
                  </a:lnTo>
                  <a:lnTo>
                    <a:pt x="48106" y="0"/>
                  </a:lnTo>
                  <a:close/>
                  <a:moveTo>
                    <a:pt x="49689" y="0"/>
                  </a:moveTo>
                  <a:lnTo>
                    <a:pt x="49689" y="602"/>
                  </a:lnTo>
                  <a:lnTo>
                    <a:pt x="51304" y="602"/>
                  </a:lnTo>
                  <a:lnTo>
                    <a:pt x="51304" y="0"/>
                  </a:lnTo>
                  <a:close/>
                  <a:moveTo>
                    <a:pt x="52888" y="0"/>
                  </a:moveTo>
                  <a:lnTo>
                    <a:pt x="52888" y="602"/>
                  </a:lnTo>
                  <a:lnTo>
                    <a:pt x="54503" y="602"/>
                  </a:lnTo>
                  <a:lnTo>
                    <a:pt x="54503" y="0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970" name="Google Shape;970;p27"/>
          <p:cNvSpPr/>
          <p:nvPr/>
        </p:nvSpPr>
        <p:spPr>
          <a:xfrm>
            <a:off x="1901048" y="6096252"/>
            <a:ext cx="2343629" cy="25929"/>
          </a:xfrm>
          <a:custGeom>
            <a:avLst/>
            <a:gdLst/>
            <a:ahLst/>
            <a:cxnLst/>
            <a:rect l="l" t="t" r="r" b="b"/>
            <a:pathLst>
              <a:path w="54503" h="603" extrusionOk="0">
                <a:moveTo>
                  <a:pt x="0" y="0"/>
                </a:moveTo>
                <a:lnTo>
                  <a:pt x="0" y="602"/>
                </a:lnTo>
                <a:lnTo>
                  <a:pt x="254" y="602"/>
                </a:lnTo>
                <a:lnTo>
                  <a:pt x="254" y="0"/>
                </a:lnTo>
                <a:close/>
                <a:moveTo>
                  <a:pt x="1837" y="0"/>
                </a:moveTo>
                <a:lnTo>
                  <a:pt x="1837" y="602"/>
                </a:lnTo>
                <a:lnTo>
                  <a:pt x="3452" y="602"/>
                </a:lnTo>
                <a:lnTo>
                  <a:pt x="3452" y="0"/>
                </a:lnTo>
                <a:close/>
                <a:moveTo>
                  <a:pt x="5036" y="0"/>
                </a:moveTo>
                <a:lnTo>
                  <a:pt x="5036" y="602"/>
                </a:lnTo>
                <a:lnTo>
                  <a:pt x="6651" y="602"/>
                </a:lnTo>
                <a:lnTo>
                  <a:pt x="6651" y="0"/>
                </a:lnTo>
                <a:close/>
                <a:moveTo>
                  <a:pt x="8234" y="0"/>
                </a:moveTo>
                <a:lnTo>
                  <a:pt x="8234" y="602"/>
                </a:lnTo>
                <a:lnTo>
                  <a:pt x="9818" y="602"/>
                </a:lnTo>
                <a:lnTo>
                  <a:pt x="9818" y="0"/>
                </a:lnTo>
                <a:close/>
                <a:moveTo>
                  <a:pt x="11433" y="0"/>
                </a:moveTo>
                <a:lnTo>
                  <a:pt x="11433" y="602"/>
                </a:lnTo>
                <a:lnTo>
                  <a:pt x="13016" y="602"/>
                </a:lnTo>
                <a:lnTo>
                  <a:pt x="13016" y="0"/>
                </a:lnTo>
                <a:close/>
                <a:moveTo>
                  <a:pt x="14600" y="0"/>
                </a:moveTo>
                <a:lnTo>
                  <a:pt x="14600" y="602"/>
                </a:lnTo>
                <a:lnTo>
                  <a:pt x="16215" y="602"/>
                </a:lnTo>
                <a:lnTo>
                  <a:pt x="16215" y="0"/>
                </a:lnTo>
                <a:close/>
                <a:moveTo>
                  <a:pt x="17798" y="0"/>
                </a:moveTo>
                <a:lnTo>
                  <a:pt x="17798" y="602"/>
                </a:lnTo>
                <a:lnTo>
                  <a:pt x="19413" y="602"/>
                </a:lnTo>
                <a:lnTo>
                  <a:pt x="19413" y="0"/>
                </a:lnTo>
                <a:close/>
                <a:moveTo>
                  <a:pt x="20997" y="0"/>
                </a:moveTo>
                <a:lnTo>
                  <a:pt x="20997" y="602"/>
                </a:lnTo>
                <a:lnTo>
                  <a:pt x="22580" y="602"/>
                </a:lnTo>
                <a:lnTo>
                  <a:pt x="22580" y="0"/>
                </a:lnTo>
                <a:close/>
                <a:moveTo>
                  <a:pt x="24196" y="0"/>
                </a:moveTo>
                <a:lnTo>
                  <a:pt x="24196" y="602"/>
                </a:lnTo>
                <a:lnTo>
                  <a:pt x="25779" y="602"/>
                </a:lnTo>
                <a:lnTo>
                  <a:pt x="25779" y="0"/>
                </a:lnTo>
                <a:close/>
                <a:moveTo>
                  <a:pt x="27362" y="0"/>
                </a:moveTo>
                <a:lnTo>
                  <a:pt x="27362" y="602"/>
                </a:lnTo>
                <a:lnTo>
                  <a:pt x="28978" y="602"/>
                </a:lnTo>
                <a:lnTo>
                  <a:pt x="28978" y="0"/>
                </a:lnTo>
                <a:close/>
                <a:moveTo>
                  <a:pt x="30561" y="0"/>
                </a:moveTo>
                <a:lnTo>
                  <a:pt x="30561" y="602"/>
                </a:lnTo>
                <a:lnTo>
                  <a:pt x="32176" y="602"/>
                </a:lnTo>
                <a:lnTo>
                  <a:pt x="32176" y="0"/>
                </a:lnTo>
                <a:close/>
                <a:moveTo>
                  <a:pt x="33760" y="0"/>
                </a:moveTo>
                <a:lnTo>
                  <a:pt x="33760" y="602"/>
                </a:lnTo>
                <a:lnTo>
                  <a:pt x="35343" y="602"/>
                </a:lnTo>
                <a:lnTo>
                  <a:pt x="35343" y="0"/>
                </a:lnTo>
                <a:close/>
                <a:moveTo>
                  <a:pt x="36958" y="0"/>
                </a:moveTo>
                <a:lnTo>
                  <a:pt x="36958" y="602"/>
                </a:lnTo>
                <a:lnTo>
                  <a:pt x="38542" y="602"/>
                </a:lnTo>
                <a:lnTo>
                  <a:pt x="38542" y="0"/>
                </a:lnTo>
                <a:close/>
                <a:moveTo>
                  <a:pt x="40125" y="0"/>
                </a:moveTo>
                <a:lnTo>
                  <a:pt x="40125" y="602"/>
                </a:lnTo>
                <a:lnTo>
                  <a:pt x="41740" y="602"/>
                </a:lnTo>
                <a:lnTo>
                  <a:pt x="41740" y="0"/>
                </a:lnTo>
                <a:close/>
                <a:moveTo>
                  <a:pt x="43324" y="0"/>
                </a:moveTo>
                <a:lnTo>
                  <a:pt x="43324" y="602"/>
                </a:lnTo>
                <a:lnTo>
                  <a:pt x="44939" y="602"/>
                </a:lnTo>
                <a:lnTo>
                  <a:pt x="44939" y="0"/>
                </a:lnTo>
                <a:close/>
                <a:moveTo>
                  <a:pt x="46522" y="0"/>
                </a:moveTo>
                <a:lnTo>
                  <a:pt x="46522" y="602"/>
                </a:lnTo>
                <a:lnTo>
                  <a:pt x="48106" y="602"/>
                </a:lnTo>
                <a:lnTo>
                  <a:pt x="48106" y="0"/>
                </a:lnTo>
                <a:close/>
                <a:moveTo>
                  <a:pt x="49721" y="0"/>
                </a:moveTo>
                <a:lnTo>
                  <a:pt x="49721" y="602"/>
                </a:lnTo>
                <a:lnTo>
                  <a:pt x="51304" y="602"/>
                </a:lnTo>
                <a:lnTo>
                  <a:pt x="51304" y="0"/>
                </a:lnTo>
                <a:close/>
                <a:moveTo>
                  <a:pt x="52888" y="0"/>
                </a:moveTo>
                <a:lnTo>
                  <a:pt x="52888" y="602"/>
                </a:lnTo>
                <a:lnTo>
                  <a:pt x="54503" y="602"/>
                </a:lnTo>
                <a:lnTo>
                  <a:pt x="54503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971" name="Google Shape;971;p27"/>
          <p:cNvSpPr/>
          <p:nvPr/>
        </p:nvSpPr>
        <p:spPr>
          <a:xfrm>
            <a:off x="608726" y="6096252"/>
            <a:ext cx="1303244" cy="25929"/>
          </a:xfrm>
          <a:custGeom>
            <a:avLst/>
            <a:gdLst/>
            <a:ahLst/>
            <a:cxnLst/>
            <a:rect l="l" t="t" r="r" b="b"/>
            <a:pathLst>
              <a:path w="30308" h="603" extrusionOk="0">
                <a:moveTo>
                  <a:pt x="0" y="0"/>
                </a:moveTo>
                <a:lnTo>
                  <a:pt x="0" y="602"/>
                </a:lnTo>
                <a:lnTo>
                  <a:pt x="1584" y="602"/>
                </a:lnTo>
                <a:lnTo>
                  <a:pt x="1584" y="0"/>
                </a:lnTo>
                <a:close/>
                <a:moveTo>
                  <a:pt x="3199" y="0"/>
                </a:moveTo>
                <a:lnTo>
                  <a:pt x="3199" y="602"/>
                </a:lnTo>
                <a:lnTo>
                  <a:pt x="4782" y="602"/>
                </a:lnTo>
                <a:lnTo>
                  <a:pt x="4782" y="0"/>
                </a:lnTo>
                <a:close/>
                <a:moveTo>
                  <a:pt x="6366" y="0"/>
                </a:moveTo>
                <a:lnTo>
                  <a:pt x="6366" y="602"/>
                </a:lnTo>
                <a:lnTo>
                  <a:pt x="7981" y="602"/>
                </a:lnTo>
                <a:lnTo>
                  <a:pt x="7981" y="0"/>
                </a:lnTo>
                <a:close/>
                <a:moveTo>
                  <a:pt x="9564" y="0"/>
                </a:moveTo>
                <a:lnTo>
                  <a:pt x="9564" y="602"/>
                </a:lnTo>
                <a:lnTo>
                  <a:pt x="11148" y="602"/>
                </a:lnTo>
                <a:lnTo>
                  <a:pt x="11148" y="0"/>
                </a:lnTo>
                <a:close/>
                <a:moveTo>
                  <a:pt x="12763" y="0"/>
                </a:moveTo>
                <a:lnTo>
                  <a:pt x="12763" y="602"/>
                </a:lnTo>
                <a:lnTo>
                  <a:pt x="14346" y="602"/>
                </a:lnTo>
                <a:lnTo>
                  <a:pt x="14346" y="0"/>
                </a:lnTo>
                <a:close/>
                <a:moveTo>
                  <a:pt x="15962" y="0"/>
                </a:moveTo>
                <a:lnTo>
                  <a:pt x="15962" y="602"/>
                </a:lnTo>
                <a:lnTo>
                  <a:pt x="17545" y="602"/>
                </a:lnTo>
                <a:lnTo>
                  <a:pt x="17545" y="0"/>
                </a:lnTo>
                <a:close/>
                <a:moveTo>
                  <a:pt x="19129" y="0"/>
                </a:moveTo>
                <a:lnTo>
                  <a:pt x="19129" y="602"/>
                </a:lnTo>
                <a:lnTo>
                  <a:pt x="20744" y="602"/>
                </a:lnTo>
                <a:lnTo>
                  <a:pt x="20744" y="0"/>
                </a:lnTo>
                <a:close/>
                <a:moveTo>
                  <a:pt x="22327" y="0"/>
                </a:moveTo>
                <a:lnTo>
                  <a:pt x="22327" y="602"/>
                </a:lnTo>
                <a:lnTo>
                  <a:pt x="23911" y="602"/>
                </a:lnTo>
                <a:lnTo>
                  <a:pt x="23911" y="0"/>
                </a:lnTo>
                <a:close/>
                <a:moveTo>
                  <a:pt x="25526" y="0"/>
                </a:moveTo>
                <a:lnTo>
                  <a:pt x="25526" y="602"/>
                </a:lnTo>
                <a:lnTo>
                  <a:pt x="27109" y="602"/>
                </a:lnTo>
                <a:lnTo>
                  <a:pt x="27109" y="0"/>
                </a:lnTo>
                <a:close/>
                <a:moveTo>
                  <a:pt x="28724" y="0"/>
                </a:moveTo>
                <a:lnTo>
                  <a:pt x="28724" y="602"/>
                </a:lnTo>
                <a:lnTo>
                  <a:pt x="30308" y="602"/>
                </a:lnTo>
                <a:lnTo>
                  <a:pt x="30308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972" name="Google Shape;972;p27"/>
          <p:cNvSpPr/>
          <p:nvPr/>
        </p:nvSpPr>
        <p:spPr>
          <a:xfrm>
            <a:off x="1714933" y="1799867"/>
            <a:ext cx="821137" cy="822599"/>
          </a:xfrm>
          <a:custGeom>
            <a:avLst/>
            <a:gdLst/>
            <a:ahLst/>
            <a:cxnLst/>
            <a:rect l="l" t="t" r="r" b="b"/>
            <a:pathLst>
              <a:path w="17989" h="18021" extrusionOk="0">
                <a:moveTo>
                  <a:pt x="8994" y="1"/>
                </a:moveTo>
                <a:cubicBezTo>
                  <a:pt x="4022" y="1"/>
                  <a:pt x="0" y="4023"/>
                  <a:pt x="0" y="8995"/>
                </a:cubicBezTo>
                <a:cubicBezTo>
                  <a:pt x="0" y="13967"/>
                  <a:pt x="4022" y="18021"/>
                  <a:pt x="8994" y="18021"/>
                </a:cubicBezTo>
                <a:cubicBezTo>
                  <a:pt x="13966" y="18021"/>
                  <a:pt x="17988" y="13967"/>
                  <a:pt x="17988" y="8995"/>
                </a:cubicBezTo>
                <a:cubicBezTo>
                  <a:pt x="17988" y="4023"/>
                  <a:pt x="13966" y="1"/>
                  <a:pt x="8994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3" name="Google Shape;973;p27"/>
          <p:cNvSpPr/>
          <p:nvPr/>
        </p:nvSpPr>
        <p:spPr>
          <a:xfrm>
            <a:off x="1805996" y="1890976"/>
            <a:ext cx="639008" cy="638963"/>
          </a:xfrm>
          <a:custGeom>
            <a:avLst/>
            <a:gdLst/>
            <a:ahLst/>
            <a:cxnLst/>
            <a:rect l="l" t="t" r="r" b="b"/>
            <a:pathLst>
              <a:path w="13999" h="13998" extrusionOk="0">
                <a:moveTo>
                  <a:pt x="6999" y="0"/>
                </a:moveTo>
                <a:cubicBezTo>
                  <a:pt x="3136" y="0"/>
                  <a:pt x="0" y="3135"/>
                  <a:pt x="0" y="6999"/>
                </a:cubicBezTo>
                <a:cubicBezTo>
                  <a:pt x="0" y="10863"/>
                  <a:pt x="3136" y="13998"/>
                  <a:pt x="6999" y="13998"/>
                </a:cubicBezTo>
                <a:cubicBezTo>
                  <a:pt x="10863" y="13998"/>
                  <a:pt x="13998" y="10863"/>
                  <a:pt x="13998" y="6999"/>
                </a:cubicBezTo>
                <a:cubicBezTo>
                  <a:pt x="13998" y="3135"/>
                  <a:pt x="10863" y="0"/>
                  <a:pt x="699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533" kern="0">
                <a:solidFill>
                  <a:srgbClr val="A43975"/>
                </a:solidFill>
                <a:cs typeface="+mn-ea"/>
                <a:sym typeface="+mn-lt"/>
              </a:rPr>
              <a:t>1</a:t>
            </a:r>
            <a:endParaRPr sz="2533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4" name="Google Shape;974;p27"/>
          <p:cNvSpPr/>
          <p:nvPr/>
        </p:nvSpPr>
        <p:spPr>
          <a:xfrm>
            <a:off x="1714933" y="3950858"/>
            <a:ext cx="821137" cy="822553"/>
          </a:xfrm>
          <a:custGeom>
            <a:avLst/>
            <a:gdLst/>
            <a:ahLst/>
            <a:cxnLst/>
            <a:rect l="l" t="t" r="r" b="b"/>
            <a:pathLst>
              <a:path w="17989" h="18020" extrusionOk="0">
                <a:moveTo>
                  <a:pt x="8994" y="0"/>
                </a:moveTo>
                <a:cubicBezTo>
                  <a:pt x="4022" y="0"/>
                  <a:pt x="0" y="4022"/>
                  <a:pt x="0" y="8994"/>
                </a:cubicBezTo>
                <a:cubicBezTo>
                  <a:pt x="0" y="13966"/>
                  <a:pt x="4022" y="18020"/>
                  <a:pt x="8994" y="18020"/>
                </a:cubicBezTo>
                <a:cubicBezTo>
                  <a:pt x="13966" y="18020"/>
                  <a:pt x="17988" y="13966"/>
                  <a:pt x="17988" y="8994"/>
                </a:cubicBezTo>
                <a:cubicBezTo>
                  <a:pt x="17988" y="4022"/>
                  <a:pt x="13966" y="0"/>
                  <a:pt x="8994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5" name="Google Shape;975;p27"/>
          <p:cNvSpPr/>
          <p:nvPr/>
        </p:nvSpPr>
        <p:spPr>
          <a:xfrm>
            <a:off x="1805996" y="4043381"/>
            <a:ext cx="639008" cy="637547"/>
          </a:xfrm>
          <a:custGeom>
            <a:avLst/>
            <a:gdLst/>
            <a:ahLst/>
            <a:cxnLst/>
            <a:rect l="l" t="t" r="r" b="b"/>
            <a:pathLst>
              <a:path w="13999" h="13967" extrusionOk="0">
                <a:moveTo>
                  <a:pt x="6999" y="0"/>
                </a:moveTo>
                <a:cubicBezTo>
                  <a:pt x="3136" y="0"/>
                  <a:pt x="0" y="3104"/>
                  <a:pt x="0" y="6967"/>
                </a:cubicBezTo>
                <a:cubicBezTo>
                  <a:pt x="0" y="10831"/>
                  <a:pt x="3136" y="13966"/>
                  <a:pt x="6999" y="13966"/>
                </a:cubicBezTo>
                <a:cubicBezTo>
                  <a:pt x="10863" y="13966"/>
                  <a:pt x="13998" y="10831"/>
                  <a:pt x="13998" y="6967"/>
                </a:cubicBezTo>
                <a:cubicBezTo>
                  <a:pt x="13998" y="3104"/>
                  <a:pt x="10863" y="0"/>
                  <a:pt x="699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533" kern="0">
                <a:solidFill>
                  <a:srgbClr val="A43975"/>
                </a:solidFill>
                <a:cs typeface="+mn-ea"/>
                <a:sym typeface="+mn-lt"/>
              </a:rPr>
              <a:t>2</a:t>
            </a:r>
            <a:endParaRPr sz="2533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6" name="Google Shape;976;p27"/>
          <p:cNvSpPr/>
          <p:nvPr/>
        </p:nvSpPr>
        <p:spPr>
          <a:xfrm>
            <a:off x="5128678" y="1785519"/>
            <a:ext cx="821137" cy="822599"/>
          </a:xfrm>
          <a:custGeom>
            <a:avLst/>
            <a:gdLst/>
            <a:ahLst/>
            <a:cxnLst/>
            <a:rect l="l" t="t" r="r" b="b"/>
            <a:pathLst>
              <a:path w="17989" h="18021" extrusionOk="0">
                <a:moveTo>
                  <a:pt x="8995" y="1"/>
                </a:moveTo>
                <a:cubicBezTo>
                  <a:pt x="4023" y="1"/>
                  <a:pt x="1" y="4023"/>
                  <a:pt x="1" y="8995"/>
                </a:cubicBezTo>
                <a:cubicBezTo>
                  <a:pt x="1" y="13967"/>
                  <a:pt x="4023" y="18021"/>
                  <a:pt x="8995" y="18021"/>
                </a:cubicBezTo>
                <a:cubicBezTo>
                  <a:pt x="13967" y="18021"/>
                  <a:pt x="17989" y="13967"/>
                  <a:pt x="17989" y="8995"/>
                </a:cubicBezTo>
                <a:cubicBezTo>
                  <a:pt x="17989" y="4023"/>
                  <a:pt x="13967" y="1"/>
                  <a:pt x="8995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7" name="Google Shape;977;p27"/>
          <p:cNvSpPr/>
          <p:nvPr/>
        </p:nvSpPr>
        <p:spPr>
          <a:xfrm>
            <a:off x="5219741" y="1876625"/>
            <a:ext cx="639008" cy="638963"/>
          </a:xfrm>
          <a:custGeom>
            <a:avLst/>
            <a:gdLst/>
            <a:ahLst/>
            <a:cxnLst/>
            <a:rect l="l" t="t" r="r" b="b"/>
            <a:pathLst>
              <a:path w="13999" h="13998" extrusionOk="0">
                <a:moveTo>
                  <a:pt x="7000" y="0"/>
                </a:moveTo>
                <a:cubicBezTo>
                  <a:pt x="3136" y="0"/>
                  <a:pt x="1" y="3135"/>
                  <a:pt x="1" y="6999"/>
                </a:cubicBezTo>
                <a:cubicBezTo>
                  <a:pt x="1" y="10863"/>
                  <a:pt x="3136" y="13998"/>
                  <a:pt x="7000" y="13998"/>
                </a:cubicBezTo>
                <a:cubicBezTo>
                  <a:pt x="10863" y="13998"/>
                  <a:pt x="13999" y="10863"/>
                  <a:pt x="13999" y="6999"/>
                </a:cubicBezTo>
                <a:cubicBezTo>
                  <a:pt x="13999" y="3135"/>
                  <a:pt x="10863" y="0"/>
                  <a:pt x="700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533" kern="0">
                <a:solidFill>
                  <a:srgbClr val="A43975"/>
                </a:solidFill>
                <a:cs typeface="+mn-ea"/>
                <a:sym typeface="+mn-lt"/>
              </a:rPr>
              <a:t>3</a:t>
            </a:r>
            <a:endParaRPr sz="2533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8" name="Google Shape;978;p27"/>
          <p:cNvSpPr/>
          <p:nvPr/>
        </p:nvSpPr>
        <p:spPr>
          <a:xfrm>
            <a:off x="5128678" y="3936509"/>
            <a:ext cx="821137" cy="822553"/>
          </a:xfrm>
          <a:custGeom>
            <a:avLst/>
            <a:gdLst/>
            <a:ahLst/>
            <a:cxnLst/>
            <a:rect l="l" t="t" r="r" b="b"/>
            <a:pathLst>
              <a:path w="17989" h="18020" extrusionOk="0">
                <a:moveTo>
                  <a:pt x="8995" y="0"/>
                </a:moveTo>
                <a:cubicBezTo>
                  <a:pt x="4023" y="0"/>
                  <a:pt x="1" y="4022"/>
                  <a:pt x="1" y="8994"/>
                </a:cubicBezTo>
                <a:cubicBezTo>
                  <a:pt x="1" y="13966"/>
                  <a:pt x="4023" y="18020"/>
                  <a:pt x="8995" y="18020"/>
                </a:cubicBezTo>
                <a:cubicBezTo>
                  <a:pt x="13967" y="18020"/>
                  <a:pt x="17989" y="13966"/>
                  <a:pt x="17989" y="8994"/>
                </a:cubicBezTo>
                <a:cubicBezTo>
                  <a:pt x="17989" y="4022"/>
                  <a:pt x="13967" y="0"/>
                  <a:pt x="8995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979" name="Google Shape;979;p27"/>
          <p:cNvSpPr/>
          <p:nvPr/>
        </p:nvSpPr>
        <p:spPr>
          <a:xfrm>
            <a:off x="5219741" y="4029032"/>
            <a:ext cx="639008" cy="637547"/>
          </a:xfrm>
          <a:custGeom>
            <a:avLst/>
            <a:gdLst/>
            <a:ahLst/>
            <a:cxnLst/>
            <a:rect l="l" t="t" r="r" b="b"/>
            <a:pathLst>
              <a:path w="13999" h="13967" extrusionOk="0">
                <a:moveTo>
                  <a:pt x="7000" y="0"/>
                </a:moveTo>
                <a:cubicBezTo>
                  <a:pt x="3136" y="0"/>
                  <a:pt x="1" y="3104"/>
                  <a:pt x="1" y="6967"/>
                </a:cubicBezTo>
                <a:cubicBezTo>
                  <a:pt x="1" y="10831"/>
                  <a:pt x="3136" y="13966"/>
                  <a:pt x="7000" y="13966"/>
                </a:cubicBezTo>
                <a:cubicBezTo>
                  <a:pt x="10863" y="13966"/>
                  <a:pt x="13999" y="10831"/>
                  <a:pt x="13999" y="6967"/>
                </a:cubicBezTo>
                <a:cubicBezTo>
                  <a:pt x="13999" y="3104"/>
                  <a:pt x="10863" y="0"/>
                  <a:pt x="700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533" kern="0">
                <a:solidFill>
                  <a:srgbClr val="A43975"/>
                </a:solidFill>
                <a:cs typeface="+mn-ea"/>
                <a:sym typeface="+mn-lt"/>
              </a:rPr>
              <a:t>4</a:t>
            </a:r>
            <a:endParaRPr sz="2533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16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5C8AA4C-D495-450F-8CD4-2F92A3293683}"/>
              </a:ext>
            </a:extLst>
          </p:cNvPr>
          <p:cNvSpPr txBox="1"/>
          <p:nvPr/>
        </p:nvSpPr>
        <p:spPr>
          <a:xfrm>
            <a:off x="2726617" y="1730603"/>
            <a:ext cx="1750136" cy="1615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</a:t>
            </a:r>
          </a:p>
        </p:txBody>
      </p:sp>
      <p:sp>
        <p:nvSpPr>
          <p:cNvPr id="16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45524DC-79D4-4D97-9FB2-8A54EEF3C40A}"/>
              </a:ext>
            </a:extLst>
          </p:cNvPr>
          <p:cNvSpPr txBox="1"/>
          <p:nvPr/>
        </p:nvSpPr>
        <p:spPr>
          <a:xfrm>
            <a:off x="2726617" y="3800391"/>
            <a:ext cx="1750136" cy="1615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</a:t>
            </a:r>
          </a:p>
        </p:txBody>
      </p:sp>
      <p:sp>
        <p:nvSpPr>
          <p:cNvPr id="16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211BFBC-AD8C-432B-8E66-6FE7E61569F2}"/>
              </a:ext>
            </a:extLst>
          </p:cNvPr>
          <p:cNvSpPr txBox="1"/>
          <p:nvPr/>
        </p:nvSpPr>
        <p:spPr>
          <a:xfrm>
            <a:off x="6224249" y="1714212"/>
            <a:ext cx="1750136" cy="1615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</a:t>
            </a:r>
          </a:p>
        </p:txBody>
      </p:sp>
      <p:sp>
        <p:nvSpPr>
          <p:cNvPr id="16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958E1E2-58D2-48AA-A62F-903B4C6F2BC7}"/>
              </a:ext>
            </a:extLst>
          </p:cNvPr>
          <p:cNvSpPr txBox="1"/>
          <p:nvPr/>
        </p:nvSpPr>
        <p:spPr>
          <a:xfrm>
            <a:off x="6224249" y="3784000"/>
            <a:ext cx="1750136" cy="1615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</a:t>
            </a:r>
          </a:p>
        </p:txBody>
      </p:sp>
      <p:sp>
        <p:nvSpPr>
          <p:cNvPr id="167" name="Google Shape;1496;p40">
            <a:extLst>
              <a:ext uri="{FF2B5EF4-FFF2-40B4-BE49-F238E27FC236}">
                <a16:creationId xmlns:a16="http://schemas.microsoft.com/office/drawing/2014/main" id="{71E142D2-59E6-4F66-A75E-CD5B6C84B2CA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168" name="文本框 167">
            <a:extLst>
              <a:ext uri="{FF2B5EF4-FFF2-40B4-BE49-F238E27FC236}">
                <a16:creationId xmlns:a16="http://schemas.microsoft.com/office/drawing/2014/main" id="{2F045F00-FB58-411A-BDA7-DF0EC6D3E66B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" grpId="0" animBg="1"/>
      <p:bldP spid="164" grpId="0" animBg="1"/>
      <p:bldP spid="165" grpId="0" animBg="1"/>
      <p:bldP spid="16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6DFCF26-0729-4193-8D0D-DFD5608448C5}"/>
              </a:ext>
            </a:extLst>
          </p:cNvPr>
          <p:cNvSpPr/>
          <p:nvPr/>
        </p:nvSpPr>
        <p:spPr>
          <a:xfrm>
            <a:off x="8201" y="0"/>
            <a:ext cx="121838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Rectangle 6">
            <a:extLst>
              <a:ext uri="{FF2B5EF4-FFF2-40B4-BE49-F238E27FC236}">
                <a16:creationId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8FA7AC-B37F-4E1E-AFD9-DAA70D9E7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82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8561389A-7A84-48B4-A2FB-476D9CDA872E}"/>
              </a:ext>
            </a:extLst>
          </p:cNvPr>
          <p:cNvSpPr/>
          <p:nvPr/>
        </p:nvSpPr>
        <p:spPr>
          <a:xfrm>
            <a:off x="1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5CBA77-EC7F-4B18-98D5-C1EA7972AC80}"/>
              </a:ext>
            </a:extLst>
          </p:cNvPr>
          <p:cNvSpPr/>
          <p:nvPr/>
        </p:nvSpPr>
        <p:spPr>
          <a:xfrm>
            <a:off x="3827844" y="2209478"/>
            <a:ext cx="7658099" cy="198702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0" dist="127000" dir="42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9F2AFD44-D044-48F2-A42D-6C8AF6C49875}"/>
              </a:ext>
            </a:extLst>
          </p:cNvPr>
          <p:cNvGrpSpPr/>
          <p:nvPr/>
        </p:nvGrpSpPr>
        <p:grpSpPr>
          <a:xfrm rot="5400000">
            <a:off x="1311770" y="767259"/>
            <a:ext cx="101370" cy="1330760"/>
            <a:chOff x="508216" y="2820579"/>
            <a:chExt cx="196770" cy="2583143"/>
          </a:xfrm>
          <a:solidFill>
            <a:schemeClr val="bg1"/>
          </a:solidFill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E4FB7A4E-4FF5-4353-80A0-8E4772FBCC9F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53B363B4-0700-4352-9753-7A0B12AF7158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9520FC3F-F125-4820-B45B-02DE79F8AE01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DEA8319B-B962-4B58-865D-1412F140F863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0367DF77-36FF-4412-B040-C8CFAA23D4AD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20B7235-F549-428D-BEE1-81C23EA562B5}"/>
              </a:ext>
            </a:extLst>
          </p:cNvPr>
          <p:cNvSpPr txBox="1"/>
          <p:nvPr/>
        </p:nvSpPr>
        <p:spPr>
          <a:xfrm>
            <a:off x="171467" y="580057"/>
            <a:ext cx="2397573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defTabSz="412750" hangingPunct="0">
              <a:lnSpc>
                <a:spcPct val="150000"/>
              </a:lnSpc>
              <a:defRPr sz="1000" b="0" kern="0">
                <a:solidFill>
                  <a:schemeClr val="bg1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endParaRPr lang="en-US" altLang="zh-CN" dirty="0">
              <a:sym typeface="+mn-lt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412AB51E-8550-4F16-97B5-57A33D8A83CF}"/>
              </a:ext>
            </a:extLst>
          </p:cNvPr>
          <p:cNvSpPr txBox="1"/>
          <p:nvPr/>
        </p:nvSpPr>
        <p:spPr>
          <a:xfrm>
            <a:off x="4583450" y="2798630"/>
            <a:ext cx="58996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5400">
                <a:solidFill>
                  <a:srgbClr val="A43975"/>
                </a:solidFill>
                <a:latin typeface="方正正黑简体" panose="02000000000000000000" pitchFamily="2" charset="-122"/>
                <a:ea typeface="方正正黑简体" panose="02000000000000000000" pitchFamily="2" charset="-122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THANK YOU</a:t>
            </a:r>
          </a:p>
        </p:txBody>
      </p:sp>
      <p:sp>
        <p:nvSpPr>
          <p:cNvPr id="45" name="Rectangle: Rounded Corners 10">
            <a:extLst>
              <a:ext uri="{FF2B5EF4-FFF2-40B4-BE49-F238E27FC236}">
                <a16:creationId xmlns:a16="http://schemas.microsoft.com/office/drawing/2014/main" id="{6326CA84-ABBD-43D0-8FC0-C31A82FFC870}"/>
              </a:ext>
            </a:extLst>
          </p:cNvPr>
          <p:cNvSpPr/>
          <p:nvPr/>
        </p:nvSpPr>
        <p:spPr>
          <a:xfrm>
            <a:off x="7050224" y="522145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91B2872F-D331-4C61-9148-8F11C5202C57}"/>
              </a:ext>
            </a:extLst>
          </p:cNvPr>
          <p:cNvSpPr txBox="1">
            <a:spLocks/>
          </p:cNvSpPr>
          <p:nvPr/>
        </p:nvSpPr>
        <p:spPr>
          <a:xfrm>
            <a:off x="7335156" y="541827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Jpppt.com</a:t>
            </a:r>
          </a:p>
        </p:txBody>
      </p: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3CCC97A-BCA7-4992-BCD4-AAE4033958A1}"/>
              </a:ext>
            </a:extLst>
          </p:cNvPr>
          <p:cNvSpPr txBox="1"/>
          <p:nvPr/>
        </p:nvSpPr>
        <p:spPr>
          <a:xfrm>
            <a:off x="6344267" y="4426335"/>
            <a:ext cx="4556815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sz="1200" dirty="0">
                <a:sym typeface="+mn-lt"/>
              </a:rPr>
              <a:t>Synergistically utilize technically sound portals with</a:t>
            </a:r>
            <a:r>
              <a:rPr lang="en-US" sz="1200" dirty="0">
                <a:sym typeface="+mn-lt"/>
              </a:rPr>
              <a:t>,</a:t>
            </a:r>
            <a:r>
              <a:rPr lang="en-US" altLang="zh-CN" sz="1200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48" name="Google Shape;13;p2">
            <a:extLst>
              <a:ext uri="{FF2B5EF4-FFF2-40B4-BE49-F238E27FC236}">
                <a16:creationId xmlns:a16="http://schemas.microsoft.com/office/drawing/2014/main" id="{97B9DD39-4AE9-4143-890C-D55ED1BAD261}"/>
              </a:ext>
            </a:extLst>
          </p:cNvPr>
          <p:cNvSpPr/>
          <p:nvPr/>
        </p:nvSpPr>
        <p:spPr>
          <a:xfrm rot="12770">
            <a:off x="9691121" y="2131207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9" name="Google Shape;14;p2">
            <a:extLst>
              <a:ext uri="{FF2B5EF4-FFF2-40B4-BE49-F238E27FC236}">
                <a16:creationId xmlns:a16="http://schemas.microsoft.com/office/drawing/2014/main" id="{3E152423-2DC4-4136-B75B-0F0A2BBBE463}"/>
              </a:ext>
            </a:extLst>
          </p:cNvPr>
          <p:cNvSpPr/>
          <p:nvPr/>
        </p:nvSpPr>
        <p:spPr>
          <a:xfrm rot="12770">
            <a:off x="10113860" y="1812399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" name="Rounded Rectangle 7">
            <a:extLst>
              <a:ext uri="{FF2B5EF4-FFF2-40B4-BE49-F238E27FC236}">
                <a16:creationId xmlns:a16="http://schemas.microsoft.com/office/drawing/2014/main" id="{E8034DED-CC0C-401A-85B1-0FD9937EFF4D}"/>
              </a:ext>
            </a:extLst>
          </p:cNvPr>
          <p:cNvSpPr/>
          <p:nvPr/>
        </p:nvSpPr>
        <p:spPr>
          <a:xfrm>
            <a:off x="8541712" y="512742"/>
            <a:ext cx="1684599" cy="413563"/>
          </a:xfrm>
          <a:prstGeom prst="roundRect">
            <a:avLst>
              <a:gd name="adj" fmla="val 50000"/>
            </a:avLst>
          </a:prstGeom>
          <a:solidFill>
            <a:srgbClr val="A43975">
              <a:alpha val="0"/>
            </a:srgbClr>
          </a:solidFill>
          <a:ln w="158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700" dirty="0">
                <a:solidFill>
                  <a:schemeClr val="bg1">
                    <a:lumMod val="50000"/>
                  </a:schemeClr>
                </a:solidFill>
              </a:rPr>
              <a:t>LOGO</a:t>
            </a:r>
            <a:endParaRPr lang="ko-KR" altLang="en-US" sz="2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extBox 3">
            <a:hlinkClick r:id="rId7"/>
            <a:extLst>
              <a:ext uri="{FF2B5EF4-FFF2-40B4-BE49-F238E27FC236}">
                <a16:creationId xmlns:a16="http://schemas.microsoft.com/office/drawing/2014/main" id="{82F35C82-6709-497E-A251-D866E86708C5}"/>
              </a:ext>
            </a:extLst>
          </p:cNvPr>
          <p:cNvSpPr txBox="1"/>
          <p:nvPr/>
        </p:nvSpPr>
        <p:spPr>
          <a:xfrm>
            <a:off x="7015383" y="6405982"/>
            <a:ext cx="32241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solidFill>
                  <a:srgbClr val="A43975"/>
                </a:solidFill>
                <a:cs typeface="Arial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reeppt7.com</a:t>
            </a:r>
            <a:endParaRPr lang="ko-KR" altLang="en-US" sz="1000" dirty="0">
              <a:solidFill>
                <a:srgbClr val="A4397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3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/>
      <p:bldP spid="45" grpId="0" animBg="1"/>
      <p:bldP spid="46" grpId="0"/>
      <p:bldP spid="47" grpId="0" animBg="1"/>
      <p:bldP spid="48" grpId="0" animBg="1"/>
      <p:bldP spid="4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9943E5-C2EF-4133-ADC8-92BBFCBEF39F}"/>
              </a:ext>
            </a:extLst>
          </p:cNvPr>
          <p:cNvGrpSpPr/>
          <p:nvPr/>
        </p:nvGrpSpPr>
        <p:grpSpPr>
          <a:xfrm>
            <a:off x="6264922" y="1132238"/>
            <a:ext cx="4576180" cy="4593524"/>
            <a:chOff x="6540501" y="0"/>
            <a:chExt cx="4896342" cy="49149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94E6301-EB23-4685-88EB-C44A54F0F7DD}"/>
                </a:ext>
              </a:extLst>
            </p:cNvPr>
            <p:cNvSpPr/>
            <p:nvPr/>
          </p:nvSpPr>
          <p:spPr>
            <a:xfrm>
              <a:off x="6540501" y="174627"/>
              <a:ext cx="4178300" cy="4740274"/>
            </a:xfrm>
            <a:prstGeom prst="roundRect">
              <a:avLst>
                <a:gd name="adj" fmla="val 676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11" name="Picture 10" descr="A close up of a tower&#10;&#10;Description automatically generated">
              <a:extLst>
                <a:ext uri="{FF2B5EF4-FFF2-40B4-BE49-F238E27FC236}">
                  <a16:creationId xmlns:a16="http://schemas.microsoft.com/office/drawing/2014/main" id="{377C7E56-A503-4A1C-A558-116396C5E3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99651" y="0"/>
              <a:ext cx="4537192" cy="4622800"/>
            </a:xfrm>
            <a:prstGeom prst="rect">
              <a:avLst/>
            </a:prstGeom>
          </p:spPr>
        </p:pic>
      </p:grp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1440862" y="1530429"/>
            <a:ext cx="703199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5100" y="6369819"/>
            <a:ext cx="274434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31409A3-BCA5-4112-983E-0B015B4FEC9B}"/>
              </a:ext>
            </a:extLst>
          </p:cNvPr>
          <p:cNvSpPr txBox="1"/>
          <p:nvPr/>
        </p:nvSpPr>
        <p:spPr>
          <a:xfrm>
            <a:off x="1316175" y="2535320"/>
            <a:ext cx="44672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u="sng" dirty="0">
                <a:solidFill>
                  <a:srgbClr val="A43975"/>
                </a:solidFill>
                <a:cs typeface="+mn-ea"/>
                <a:sym typeface="+mn-lt"/>
              </a:rPr>
              <a:t>Part one</a:t>
            </a:r>
          </a:p>
        </p:txBody>
      </p:sp>
      <p:sp>
        <p:nvSpPr>
          <p:cNvPr id="16" name="Rectangle: Rounded Corners 10">
            <a:extLst>
              <a:ext uri="{FF2B5EF4-FFF2-40B4-BE49-F238E27FC236}">
                <a16:creationId xmlns:a16="http://schemas.microsoft.com/office/drawing/2014/main" id="{98FA1314-0C5F-4BDA-814F-E48678576C79}"/>
              </a:ext>
            </a:extLst>
          </p:cNvPr>
          <p:cNvSpPr/>
          <p:nvPr/>
        </p:nvSpPr>
        <p:spPr>
          <a:xfrm>
            <a:off x="1440861" y="459434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A2F7233-5CF3-4BAA-9DB3-924685106EE7}"/>
              </a:ext>
            </a:extLst>
          </p:cNvPr>
          <p:cNvSpPr txBox="1">
            <a:spLocks/>
          </p:cNvSpPr>
          <p:nvPr/>
        </p:nvSpPr>
        <p:spPr>
          <a:xfrm>
            <a:off x="1725794" y="479116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b="0" dirty="0" err="1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j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ppt.com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328037-B8CC-4CFE-9C61-0B136E1EDB1B}"/>
              </a:ext>
            </a:extLst>
          </p:cNvPr>
          <p:cNvSpPr txBox="1"/>
          <p:nvPr/>
        </p:nvSpPr>
        <p:spPr>
          <a:xfrm>
            <a:off x="1440861" y="3649391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19" name="Google Shape;13;p2">
            <a:extLst>
              <a:ext uri="{FF2B5EF4-FFF2-40B4-BE49-F238E27FC236}">
                <a16:creationId xmlns:a16="http://schemas.microsoft.com/office/drawing/2014/main" id="{509DD1A6-1FA7-493E-B44D-F8868C2102FE}"/>
              </a:ext>
            </a:extLst>
          </p:cNvPr>
          <p:cNvSpPr/>
          <p:nvPr/>
        </p:nvSpPr>
        <p:spPr>
          <a:xfrm rot="12770">
            <a:off x="628033" y="2574350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" name="Google Shape;14;p2">
            <a:extLst>
              <a:ext uri="{FF2B5EF4-FFF2-40B4-BE49-F238E27FC236}">
                <a16:creationId xmlns:a16="http://schemas.microsoft.com/office/drawing/2014/main" id="{9FDDE0E7-DC25-48CF-AAB3-D30CE6AB5B87}"/>
              </a:ext>
            </a:extLst>
          </p:cNvPr>
          <p:cNvSpPr/>
          <p:nvPr/>
        </p:nvSpPr>
        <p:spPr>
          <a:xfrm rot="12770">
            <a:off x="1050772" y="2255542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/>
      <p:bldP spid="18" grpId="0" animBg="1"/>
      <p:bldP spid="19" grpId="0" animBg="1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5693BCE-BAC8-4F1C-9CE9-ABE2B81506E0}"/>
              </a:ext>
            </a:extLst>
          </p:cNvPr>
          <p:cNvSpPr/>
          <p:nvPr/>
        </p:nvSpPr>
        <p:spPr>
          <a:xfrm>
            <a:off x="1" y="1891740"/>
            <a:ext cx="9231087" cy="35414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4" name="iŝḷíḋé">
            <a:extLst>
              <a:ext uri="{FF2B5EF4-FFF2-40B4-BE49-F238E27FC236}">
                <a16:creationId xmlns:a16="http://schemas.microsoft.com/office/drawing/2014/main" id="{6AC9A4FA-FDF3-491B-B862-8DEF3C40F175}"/>
              </a:ext>
            </a:extLst>
          </p:cNvPr>
          <p:cNvSpPr/>
          <p:nvPr/>
        </p:nvSpPr>
        <p:spPr>
          <a:xfrm>
            <a:off x="7531719" y="189830"/>
            <a:ext cx="4044077" cy="5994399"/>
          </a:xfrm>
          <a:prstGeom prst="rect">
            <a:avLst/>
          </a:prstGeom>
          <a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3E0C1-2193-468B-9D0E-F3697EDB27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5100" y="6369819"/>
            <a:ext cx="274434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52CF61-077A-4E0F-9A15-475A68F79712}"/>
              </a:ext>
            </a:extLst>
          </p:cNvPr>
          <p:cNvSpPr/>
          <p:nvPr/>
        </p:nvSpPr>
        <p:spPr>
          <a:xfrm>
            <a:off x="7544550" y="189828"/>
            <a:ext cx="4052641" cy="5994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" name="Rectangle 34">
            <a:extLst>
              <a:ext uri="{FF2B5EF4-FFF2-40B4-BE49-F238E27FC236}">
                <a16:creationId xmlns:a16="http://schemas.microsoft.com/office/drawing/2014/main" id="{A322540C-0C4C-4027-9F35-788FABE150D7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8A391D6-2707-4A9C-B5E3-975E6CBEEADE}"/>
              </a:ext>
            </a:extLst>
          </p:cNvPr>
          <p:cNvGrpSpPr/>
          <p:nvPr/>
        </p:nvGrpSpPr>
        <p:grpSpPr>
          <a:xfrm>
            <a:off x="6151770" y="2610006"/>
            <a:ext cx="476479" cy="352637"/>
            <a:chOff x="4113213" y="2209801"/>
            <a:chExt cx="360362" cy="266700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16" name="Freeform 31">
              <a:extLst>
                <a:ext uri="{FF2B5EF4-FFF2-40B4-BE49-F238E27FC236}">
                  <a16:creationId xmlns:a16="http://schemas.microsoft.com/office/drawing/2014/main" id="{0D79F006-21B5-4034-ABFB-BF1D2EBB3E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2268538"/>
              <a:ext cx="112713" cy="150813"/>
            </a:xfrm>
            <a:custGeom>
              <a:avLst/>
              <a:gdLst>
                <a:gd name="T0" fmla="*/ 30 w 30"/>
                <a:gd name="T1" fmla="*/ 31 h 40"/>
                <a:gd name="T2" fmla="*/ 30 w 30"/>
                <a:gd name="T3" fmla="*/ 2 h 40"/>
                <a:gd name="T4" fmla="*/ 28 w 30"/>
                <a:gd name="T5" fmla="*/ 0 h 40"/>
                <a:gd name="T6" fmla="*/ 18 w 30"/>
                <a:gd name="T7" fmla="*/ 0 h 40"/>
                <a:gd name="T8" fmla="*/ 0 w 30"/>
                <a:gd name="T9" fmla="*/ 18 h 40"/>
                <a:gd name="T10" fmla="*/ 0 w 30"/>
                <a:gd name="T11" fmla="*/ 38 h 40"/>
                <a:gd name="T12" fmla="*/ 2 w 30"/>
                <a:gd name="T13" fmla="*/ 40 h 40"/>
                <a:gd name="T14" fmla="*/ 20 w 30"/>
                <a:gd name="T15" fmla="*/ 40 h 40"/>
                <a:gd name="T16" fmla="*/ 30 w 30"/>
                <a:gd name="T17" fmla="*/ 31 h 40"/>
                <a:gd name="T18" fmla="*/ 20 w 30"/>
                <a:gd name="T19" fmla="*/ 12 h 40"/>
                <a:gd name="T20" fmla="*/ 14 w 30"/>
                <a:gd name="T21" fmla="*/ 12 h 40"/>
                <a:gd name="T22" fmla="*/ 12 w 30"/>
                <a:gd name="T23" fmla="*/ 14 h 40"/>
                <a:gd name="T24" fmla="*/ 12 w 30"/>
                <a:gd name="T25" fmla="*/ 20 h 40"/>
                <a:gd name="T26" fmla="*/ 10 w 30"/>
                <a:gd name="T27" fmla="*/ 22 h 40"/>
                <a:gd name="T28" fmla="*/ 8 w 30"/>
                <a:gd name="T29" fmla="*/ 20 h 40"/>
                <a:gd name="T30" fmla="*/ 8 w 30"/>
                <a:gd name="T31" fmla="*/ 14 h 40"/>
                <a:gd name="T32" fmla="*/ 14 w 30"/>
                <a:gd name="T33" fmla="*/ 8 h 40"/>
                <a:gd name="T34" fmla="*/ 20 w 30"/>
                <a:gd name="T35" fmla="*/ 8 h 40"/>
                <a:gd name="T36" fmla="*/ 22 w 30"/>
                <a:gd name="T37" fmla="*/ 10 h 40"/>
                <a:gd name="T38" fmla="*/ 20 w 30"/>
                <a:gd name="T3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" h="40">
                  <a:moveTo>
                    <a:pt x="30" y="31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9"/>
                    <a:pt x="1" y="40"/>
                    <a:pt x="2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1" y="35"/>
                    <a:pt x="25" y="32"/>
                    <a:pt x="30" y="31"/>
                  </a:cubicBezTo>
                  <a:close/>
                  <a:moveTo>
                    <a:pt x="20" y="12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1"/>
                    <a:pt x="11" y="22"/>
                    <a:pt x="10" y="22"/>
                  </a:cubicBezTo>
                  <a:cubicBezTo>
                    <a:pt x="9" y="22"/>
                    <a:pt x="8" y="21"/>
                    <a:pt x="8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1"/>
                    <a:pt x="11" y="8"/>
                    <a:pt x="14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2" y="9"/>
                    <a:pt x="22" y="10"/>
                  </a:cubicBezTo>
                  <a:cubicBezTo>
                    <a:pt x="22" y="11"/>
                    <a:pt x="21" y="12"/>
                    <a:pt x="2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7" name="Freeform 32">
              <a:extLst>
                <a:ext uri="{FF2B5EF4-FFF2-40B4-BE49-F238E27FC236}">
                  <a16:creationId xmlns:a16="http://schemas.microsoft.com/office/drawing/2014/main" id="{A097805C-F7A6-470C-AD59-D5B0C2BAD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275" y="2209801"/>
              <a:ext cx="241300" cy="225425"/>
            </a:xfrm>
            <a:custGeom>
              <a:avLst/>
              <a:gdLst>
                <a:gd name="T0" fmla="*/ 62 w 64"/>
                <a:gd name="T1" fmla="*/ 0 h 60"/>
                <a:gd name="T2" fmla="*/ 2 w 64"/>
                <a:gd name="T3" fmla="*/ 0 h 60"/>
                <a:gd name="T4" fmla="*/ 0 w 64"/>
                <a:gd name="T5" fmla="*/ 2 h 60"/>
                <a:gd name="T6" fmla="*/ 0 w 64"/>
                <a:gd name="T7" fmla="*/ 47 h 60"/>
                <a:gd name="T8" fmla="*/ 13 w 64"/>
                <a:gd name="T9" fmla="*/ 60 h 60"/>
                <a:gd name="T10" fmla="*/ 31 w 64"/>
                <a:gd name="T11" fmla="*/ 60 h 60"/>
                <a:gd name="T12" fmla="*/ 44 w 64"/>
                <a:gd name="T13" fmla="*/ 47 h 60"/>
                <a:gd name="T14" fmla="*/ 57 w 64"/>
                <a:gd name="T15" fmla="*/ 60 h 60"/>
                <a:gd name="T16" fmla="*/ 62 w 64"/>
                <a:gd name="T17" fmla="*/ 60 h 60"/>
                <a:gd name="T18" fmla="*/ 64 w 64"/>
                <a:gd name="T19" fmla="*/ 58 h 60"/>
                <a:gd name="T20" fmla="*/ 64 w 64"/>
                <a:gd name="T21" fmla="*/ 2 h 60"/>
                <a:gd name="T22" fmla="*/ 62 w 64"/>
                <a:gd name="T2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60">
                  <a:moveTo>
                    <a:pt x="6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7" y="47"/>
                    <a:pt x="13" y="53"/>
                    <a:pt x="13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53"/>
                    <a:pt x="37" y="47"/>
                    <a:pt x="44" y="47"/>
                  </a:cubicBezTo>
                  <a:cubicBezTo>
                    <a:pt x="51" y="47"/>
                    <a:pt x="57" y="53"/>
                    <a:pt x="57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60"/>
                    <a:pt x="64" y="59"/>
                    <a:pt x="64" y="58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1"/>
                    <a:pt x="63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18127EB-3CE9-4365-B341-BEC9B9BE3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1000" y="2393951"/>
              <a:ext cx="82550" cy="82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F30F6A6-B169-4C46-B578-300ABB42BE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7688" y="2393951"/>
              <a:ext cx="82550" cy="82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0" name="Freeform 35">
              <a:extLst>
                <a:ext uri="{FF2B5EF4-FFF2-40B4-BE49-F238E27FC236}">
                  <a16:creationId xmlns:a16="http://schemas.microsoft.com/office/drawing/2014/main" id="{C4E05D2E-3A8D-4786-8E13-47AB72AC7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2435226"/>
              <a:ext cx="60325" cy="14288"/>
            </a:xfrm>
            <a:custGeom>
              <a:avLst/>
              <a:gdLst>
                <a:gd name="T0" fmla="*/ 14 w 16"/>
                <a:gd name="T1" fmla="*/ 0 h 4"/>
                <a:gd name="T2" fmla="*/ 2 w 16"/>
                <a:gd name="T3" fmla="*/ 0 h 4"/>
                <a:gd name="T4" fmla="*/ 0 w 16"/>
                <a:gd name="T5" fmla="*/ 2 h 4"/>
                <a:gd name="T6" fmla="*/ 2 w 16"/>
                <a:gd name="T7" fmla="*/ 4 h 4"/>
                <a:gd name="T8" fmla="*/ 14 w 16"/>
                <a:gd name="T9" fmla="*/ 4 h 4"/>
                <a:gd name="T10" fmla="*/ 16 w 16"/>
                <a:gd name="T11" fmla="*/ 2 h 4"/>
                <a:gd name="T12" fmla="*/ 14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8A4D684-B5C6-4D7C-A7A9-662493B1FD62}"/>
              </a:ext>
            </a:extLst>
          </p:cNvPr>
          <p:cNvGrpSpPr/>
          <p:nvPr/>
        </p:nvGrpSpPr>
        <p:grpSpPr>
          <a:xfrm>
            <a:off x="3383988" y="2485150"/>
            <a:ext cx="479605" cy="477493"/>
            <a:chOff x="4113213" y="2886076"/>
            <a:chExt cx="360363" cy="358775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756221A9-2DEB-4F3F-80D3-C8733B816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2924176"/>
              <a:ext cx="236538" cy="112713"/>
            </a:xfrm>
            <a:custGeom>
              <a:avLst/>
              <a:gdLst>
                <a:gd name="T0" fmla="*/ 52 w 149"/>
                <a:gd name="T1" fmla="*/ 0 h 71"/>
                <a:gd name="T2" fmla="*/ 0 w 149"/>
                <a:gd name="T3" fmla="*/ 22 h 71"/>
                <a:gd name="T4" fmla="*/ 106 w 149"/>
                <a:gd name="T5" fmla="*/ 71 h 71"/>
                <a:gd name="T6" fmla="*/ 149 w 149"/>
                <a:gd name="T7" fmla="*/ 52 h 71"/>
                <a:gd name="T8" fmla="*/ 52 w 149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71">
                  <a:moveTo>
                    <a:pt x="52" y="0"/>
                  </a:moveTo>
                  <a:lnTo>
                    <a:pt x="0" y="22"/>
                  </a:lnTo>
                  <a:lnTo>
                    <a:pt x="106" y="71"/>
                  </a:lnTo>
                  <a:lnTo>
                    <a:pt x="149" y="52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4477B6EF-49E5-424C-B8E1-3DCAE66AF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2970213"/>
              <a:ext cx="173038" cy="274638"/>
            </a:xfrm>
            <a:custGeom>
              <a:avLst/>
              <a:gdLst>
                <a:gd name="T0" fmla="*/ 0 w 46"/>
                <a:gd name="T1" fmla="*/ 52 h 73"/>
                <a:gd name="T2" fmla="*/ 1 w 46"/>
                <a:gd name="T3" fmla="*/ 54 h 73"/>
                <a:gd name="T4" fmla="*/ 46 w 46"/>
                <a:gd name="T5" fmla="*/ 73 h 73"/>
                <a:gd name="T6" fmla="*/ 46 w 46"/>
                <a:gd name="T7" fmla="*/ 21 h 73"/>
                <a:gd name="T8" fmla="*/ 0 w 46"/>
                <a:gd name="T9" fmla="*/ 0 h 73"/>
                <a:gd name="T10" fmla="*/ 0 w 46"/>
                <a:gd name="T11" fmla="*/ 52 h 73"/>
                <a:gd name="T12" fmla="*/ 12 w 46"/>
                <a:gd name="T13" fmla="*/ 18 h 73"/>
                <a:gd name="T14" fmla="*/ 13 w 46"/>
                <a:gd name="T15" fmla="*/ 16 h 73"/>
                <a:gd name="T16" fmla="*/ 15 w 46"/>
                <a:gd name="T17" fmla="*/ 16 h 73"/>
                <a:gd name="T18" fmla="*/ 37 w 46"/>
                <a:gd name="T19" fmla="*/ 26 h 73"/>
                <a:gd name="T20" fmla="*/ 38 w 46"/>
                <a:gd name="T21" fmla="*/ 28 h 73"/>
                <a:gd name="T22" fmla="*/ 38 w 46"/>
                <a:gd name="T23" fmla="*/ 48 h 73"/>
                <a:gd name="T24" fmla="*/ 37 w 46"/>
                <a:gd name="T25" fmla="*/ 50 h 73"/>
                <a:gd name="T26" fmla="*/ 36 w 46"/>
                <a:gd name="T27" fmla="*/ 50 h 73"/>
                <a:gd name="T28" fmla="*/ 35 w 46"/>
                <a:gd name="T29" fmla="*/ 50 h 73"/>
                <a:gd name="T30" fmla="*/ 13 w 46"/>
                <a:gd name="T31" fmla="*/ 40 h 73"/>
                <a:gd name="T32" fmla="*/ 12 w 46"/>
                <a:gd name="T33" fmla="*/ 38 h 73"/>
                <a:gd name="T34" fmla="*/ 12 w 46"/>
                <a:gd name="T35" fmla="*/ 1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73">
                  <a:moveTo>
                    <a:pt x="0" y="52"/>
                  </a:moveTo>
                  <a:cubicBezTo>
                    <a:pt x="0" y="53"/>
                    <a:pt x="0" y="54"/>
                    <a:pt x="1" y="54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2"/>
                  </a:lnTo>
                  <a:close/>
                  <a:moveTo>
                    <a:pt x="12" y="18"/>
                  </a:moveTo>
                  <a:cubicBezTo>
                    <a:pt x="12" y="17"/>
                    <a:pt x="12" y="17"/>
                    <a:pt x="13" y="16"/>
                  </a:cubicBezTo>
                  <a:cubicBezTo>
                    <a:pt x="13" y="16"/>
                    <a:pt x="14" y="16"/>
                    <a:pt x="15" y="1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8" y="27"/>
                    <a:pt x="38" y="27"/>
                    <a:pt x="38" y="2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7" y="50"/>
                  </a:cubicBezTo>
                  <a:cubicBezTo>
                    <a:pt x="37" y="50"/>
                    <a:pt x="36" y="50"/>
                    <a:pt x="36" y="50"/>
                  </a:cubicBezTo>
                  <a:cubicBezTo>
                    <a:pt x="36" y="50"/>
                    <a:pt x="35" y="50"/>
                    <a:pt x="35" y="5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2" y="39"/>
                    <a:pt x="12" y="39"/>
                    <a:pt x="12" y="38"/>
                  </a:cubicBez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E6EBF392-3B6C-4A21-8CB1-13696620F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538" y="2970213"/>
              <a:ext cx="173038" cy="274638"/>
            </a:xfrm>
            <a:custGeom>
              <a:avLst/>
              <a:gdLst>
                <a:gd name="T0" fmla="*/ 0 w 46"/>
                <a:gd name="T1" fmla="*/ 21 h 73"/>
                <a:gd name="T2" fmla="*/ 0 w 46"/>
                <a:gd name="T3" fmla="*/ 73 h 73"/>
                <a:gd name="T4" fmla="*/ 45 w 46"/>
                <a:gd name="T5" fmla="*/ 54 h 73"/>
                <a:gd name="T6" fmla="*/ 46 w 46"/>
                <a:gd name="T7" fmla="*/ 52 h 73"/>
                <a:gd name="T8" fmla="*/ 46 w 46"/>
                <a:gd name="T9" fmla="*/ 0 h 73"/>
                <a:gd name="T10" fmla="*/ 0 w 46"/>
                <a:gd name="T11" fmla="*/ 2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73">
                  <a:moveTo>
                    <a:pt x="0" y="21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6" y="54"/>
                    <a:pt x="46" y="53"/>
                    <a:pt x="46" y="52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A0100626-A82E-4688-9C7C-65A0914D8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925" y="2886076"/>
              <a:ext cx="236538" cy="114300"/>
            </a:xfrm>
            <a:custGeom>
              <a:avLst/>
              <a:gdLst>
                <a:gd name="T0" fmla="*/ 63 w 63"/>
                <a:gd name="T1" fmla="*/ 19 h 30"/>
                <a:gd name="T2" fmla="*/ 19 w 63"/>
                <a:gd name="T3" fmla="*/ 0 h 30"/>
                <a:gd name="T4" fmla="*/ 17 w 63"/>
                <a:gd name="T5" fmla="*/ 0 h 30"/>
                <a:gd name="T6" fmla="*/ 0 w 63"/>
                <a:gd name="T7" fmla="*/ 8 h 30"/>
                <a:gd name="T8" fmla="*/ 40 w 63"/>
                <a:gd name="T9" fmla="*/ 30 h 30"/>
                <a:gd name="T10" fmla="*/ 63 w 63"/>
                <a:gd name="T11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30">
                  <a:moveTo>
                    <a:pt x="63" y="19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0" y="30"/>
                    <a:pt x="40" y="30"/>
                    <a:pt x="40" y="30"/>
                  </a:cubicBezTo>
                  <a:lnTo>
                    <a:pt x="6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EFF4393-F778-4C15-9F23-F4F6D4A5B927}"/>
              </a:ext>
            </a:extLst>
          </p:cNvPr>
          <p:cNvGrpSpPr/>
          <p:nvPr/>
        </p:nvGrpSpPr>
        <p:grpSpPr>
          <a:xfrm>
            <a:off x="616206" y="2475143"/>
            <a:ext cx="485361" cy="487498"/>
            <a:chOff x="2670175" y="3970338"/>
            <a:chExt cx="360363" cy="361950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37" name="Freeform 91">
              <a:extLst>
                <a:ext uri="{FF2B5EF4-FFF2-40B4-BE49-F238E27FC236}">
                  <a16:creationId xmlns:a16="http://schemas.microsoft.com/office/drawing/2014/main" id="{04D96C37-5045-467C-9A67-416B52EEEB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4046538"/>
              <a:ext cx="360363" cy="285750"/>
            </a:xfrm>
            <a:custGeom>
              <a:avLst/>
              <a:gdLst>
                <a:gd name="T0" fmla="*/ 72 w 96"/>
                <a:gd name="T1" fmla="*/ 35 h 76"/>
                <a:gd name="T2" fmla="*/ 72 w 96"/>
                <a:gd name="T3" fmla="*/ 22 h 76"/>
                <a:gd name="T4" fmla="*/ 48 w 96"/>
                <a:gd name="T5" fmla="*/ 35 h 76"/>
                <a:gd name="T6" fmla="*/ 48 w 96"/>
                <a:gd name="T7" fmla="*/ 21 h 76"/>
                <a:gd name="T8" fmla="*/ 26 w 96"/>
                <a:gd name="T9" fmla="*/ 36 h 76"/>
                <a:gd name="T10" fmla="*/ 19 w 96"/>
                <a:gd name="T11" fmla="*/ 0 h 76"/>
                <a:gd name="T12" fmla="*/ 6 w 96"/>
                <a:gd name="T13" fmla="*/ 0 h 76"/>
                <a:gd name="T14" fmla="*/ 0 w 96"/>
                <a:gd name="T15" fmla="*/ 42 h 76"/>
                <a:gd name="T16" fmla="*/ 0 w 96"/>
                <a:gd name="T17" fmla="*/ 76 h 76"/>
                <a:gd name="T18" fmla="*/ 96 w 96"/>
                <a:gd name="T19" fmla="*/ 76 h 76"/>
                <a:gd name="T20" fmla="*/ 96 w 96"/>
                <a:gd name="T21" fmla="*/ 22 h 76"/>
                <a:gd name="T22" fmla="*/ 72 w 96"/>
                <a:gd name="T23" fmla="*/ 35 h 76"/>
                <a:gd name="T24" fmla="*/ 36 w 96"/>
                <a:gd name="T25" fmla="*/ 66 h 76"/>
                <a:gd name="T26" fmla="*/ 30 w 96"/>
                <a:gd name="T27" fmla="*/ 66 h 76"/>
                <a:gd name="T28" fmla="*/ 28 w 96"/>
                <a:gd name="T29" fmla="*/ 64 h 76"/>
                <a:gd name="T30" fmla="*/ 30 w 96"/>
                <a:gd name="T31" fmla="*/ 62 h 76"/>
                <a:gd name="T32" fmla="*/ 36 w 96"/>
                <a:gd name="T33" fmla="*/ 62 h 76"/>
                <a:gd name="T34" fmla="*/ 38 w 96"/>
                <a:gd name="T35" fmla="*/ 64 h 76"/>
                <a:gd name="T36" fmla="*/ 36 w 96"/>
                <a:gd name="T37" fmla="*/ 66 h 76"/>
                <a:gd name="T38" fmla="*/ 36 w 96"/>
                <a:gd name="T39" fmla="*/ 56 h 76"/>
                <a:gd name="T40" fmla="*/ 30 w 96"/>
                <a:gd name="T41" fmla="*/ 56 h 76"/>
                <a:gd name="T42" fmla="*/ 28 w 96"/>
                <a:gd name="T43" fmla="*/ 54 h 76"/>
                <a:gd name="T44" fmla="*/ 30 w 96"/>
                <a:gd name="T45" fmla="*/ 52 h 76"/>
                <a:gd name="T46" fmla="*/ 36 w 96"/>
                <a:gd name="T47" fmla="*/ 52 h 76"/>
                <a:gd name="T48" fmla="*/ 38 w 96"/>
                <a:gd name="T49" fmla="*/ 54 h 76"/>
                <a:gd name="T50" fmla="*/ 36 w 96"/>
                <a:gd name="T51" fmla="*/ 56 h 76"/>
                <a:gd name="T52" fmla="*/ 60 w 96"/>
                <a:gd name="T53" fmla="*/ 66 h 76"/>
                <a:gd name="T54" fmla="*/ 54 w 96"/>
                <a:gd name="T55" fmla="*/ 66 h 76"/>
                <a:gd name="T56" fmla="*/ 52 w 96"/>
                <a:gd name="T57" fmla="*/ 64 h 76"/>
                <a:gd name="T58" fmla="*/ 54 w 96"/>
                <a:gd name="T59" fmla="*/ 62 h 76"/>
                <a:gd name="T60" fmla="*/ 60 w 96"/>
                <a:gd name="T61" fmla="*/ 62 h 76"/>
                <a:gd name="T62" fmla="*/ 62 w 96"/>
                <a:gd name="T63" fmla="*/ 64 h 76"/>
                <a:gd name="T64" fmla="*/ 60 w 96"/>
                <a:gd name="T65" fmla="*/ 66 h 76"/>
                <a:gd name="T66" fmla="*/ 60 w 96"/>
                <a:gd name="T67" fmla="*/ 56 h 76"/>
                <a:gd name="T68" fmla="*/ 54 w 96"/>
                <a:gd name="T69" fmla="*/ 56 h 76"/>
                <a:gd name="T70" fmla="*/ 52 w 96"/>
                <a:gd name="T71" fmla="*/ 54 h 76"/>
                <a:gd name="T72" fmla="*/ 54 w 96"/>
                <a:gd name="T73" fmla="*/ 52 h 76"/>
                <a:gd name="T74" fmla="*/ 60 w 96"/>
                <a:gd name="T75" fmla="*/ 52 h 76"/>
                <a:gd name="T76" fmla="*/ 62 w 96"/>
                <a:gd name="T77" fmla="*/ 54 h 76"/>
                <a:gd name="T78" fmla="*/ 60 w 96"/>
                <a:gd name="T79" fmla="*/ 56 h 76"/>
                <a:gd name="T80" fmla="*/ 84 w 96"/>
                <a:gd name="T81" fmla="*/ 66 h 76"/>
                <a:gd name="T82" fmla="*/ 78 w 96"/>
                <a:gd name="T83" fmla="*/ 66 h 76"/>
                <a:gd name="T84" fmla="*/ 76 w 96"/>
                <a:gd name="T85" fmla="*/ 64 h 76"/>
                <a:gd name="T86" fmla="*/ 78 w 96"/>
                <a:gd name="T87" fmla="*/ 62 h 76"/>
                <a:gd name="T88" fmla="*/ 84 w 96"/>
                <a:gd name="T89" fmla="*/ 62 h 76"/>
                <a:gd name="T90" fmla="*/ 86 w 96"/>
                <a:gd name="T91" fmla="*/ 64 h 76"/>
                <a:gd name="T92" fmla="*/ 84 w 96"/>
                <a:gd name="T93" fmla="*/ 66 h 76"/>
                <a:gd name="T94" fmla="*/ 84 w 96"/>
                <a:gd name="T95" fmla="*/ 56 h 76"/>
                <a:gd name="T96" fmla="*/ 78 w 96"/>
                <a:gd name="T97" fmla="*/ 56 h 76"/>
                <a:gd name="T98" fmla="*/ 76 w 96"/>
                <a:gd name="T99" fmla="*/ 54 h 76"/>
                <a:gd name="T100" fmla="*/ 78 w 96"/>
                <a:gd name="T101" fmla="*/ 52 h 76"/>
                <a:gd name="T102" fmla="*/ 84 w 96"/>
                <a:gd name="T103" fmla="*/ 52 h 76"/>
                <a:gd name="T104" fmla="*/ 86 w 96"/>
                <a:gd name="T105" fmla="*/ 54 h 76"/>
                <a:gd name="T106" fmla="*/ 84 w 96"/>
                <a:gd name="T107" fmla="*/ 5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6" h="76">
                  <a:moveTo>
                    <a:pt x="72" y="35"/>
                  </a:moveTo>
                  <a:cubicBezTo>
                    <a:pt x="72" y="22"/>
                    <a:pt x="72" y="22"/>
                    <a:pt x="72" y="22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22"/>
                    <a:pt x="96" y="22"/>
                    <a:pt x="96" y="22"/>
                  </a:cubicBezTo>
                  <a:lnTo>
                    <a:pt x="72" y="35"/>
                  </a:lnTo>
                  <a:close/>
                  <a:moveTo>
                    <a:pt x="36" y="66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29" y="66"/>
                    <a:pt x="28" y="65"/>
                    <a:pt x="28" y="64"/>
                  </a:cubicBezTo>
                  <a:cubicBezTo>
                    <a:pt x="28" y="63"/>
                    <a:pt x="29" y="62"/>
                    <a:pt x="30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7" y="62"/>
                    <a:pt x="38" y="63"/>
                    <a:pt x="38" y="64"/>
                  </a:cubicBezTo>
                  <a:cubicBezTo>
                    <a:pt x="38" y="65"/>
                    <a:pt x="37" y="66"/>
                    <a:pt x="36" y="66"/>
                  </a:cubicBezTo>
                  <a:close/>
                  <a:moveTo>
                    <a:pt x="36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8" y="55"/>
                    <a:pt x="28" y="54"/>
                  </a:cubicBezTo>
                  <a:cubicBezTo>
                    <a:pt x="28" y="53"/>
                    <a:pt x="29" y="52"/>
                    <a:pt x="30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7" y="52"/>
                    <a:pt x="38" y="53"/>
                    <a:pt x="38" y="54"/>
                  </a:cubicBezTo>
                  <a:cubicBezTo>
                    <a:pt x="38" y="55"/>
                    <a:pt x="37" y="56"/>
                    <a:pt x="36" y="56"/>
                  </a:cubicBezTo>
                  <a:close/>
                  <a:moveTo>
                    <a:pt x="60" y="66"/>
                  </a:moveTo>
                  <a:cubicBezTo>
                    <a:pt x="54" y="66"/>
                    <a:pt x="54" y="66"/>
                    <a:pt x="54" y="66"/>
                  </a:cubicBezTo>
                  <a:cubicBezTo>
                    <a:pt x="53" y="66"/>
                    <a:pt x="52" y="65"/>
                    <a:pt x="52" y="64"/>
                  </a:cubicBezTo>
                  <a:cubicBezTo>
                    <a:pt x="52" y="63"/>
                    <a:pt x="53" y="62"/>
                    <a:pt x="54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1" y="62"/>
                    <a:pt x="62" y="63"/>
                    <a:pt x="62" y="64"/>
                  </a:cubicBezTo>
                  <a:cubicBezTo>
                    <a:pt x="62" y="65"/>
                    <a:pt x="61" y="66"/>
                    <a:pt x="60" y="66"/>
                  </a:cubicBezTo>
                  <a:close/>
                  <a:moveTo>
                    <a:pt x="60" y="56"/>
                  </a:moveTo>
                  <a:cubicBezTo>
                    <a:pt x="54" y="56"/>
                    <a:pt x="54" y="56"/>
                    <a:pt x="54" y="56"/>
                  </a:cubicBezTo>
                  <a:cubicBezTo>
                    <a:pt x="53" y="56"/>
                    <a:pt x="52" y="55"/>
                    <a:pt x="52" y="54"/>
                  </a:cubicBezTo>
                  <a:cubicBezTo>
                    <a:pt x="52" y="53"/>
                    <a:pt x="53" y="52"/>
                    <a:pt x="54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1" y="52"/>
                    <a:pt x="62" y="53"/>
                    <a:pt x="62" y="54"/>
                  </a:cubicBezTo>
                  <a:cubicBezTo>
                    <a:pt x="62" y="55"/>
                    <a:pt x="61" y="56"/>
                    <a:pt x="60" y="56"/>
                  </a:cubicBezTo>
                  <a:close/>
                  <a:moveTo>
                    <a:pt x="84" y="66"/>
                  </a:moveTo>
                  <a:cubicBezTo>
                    <a:pt x="78" y="66"/>
                    <a:pt x="78" y="66"/>
                    <a:pt x="78" y="66"/>
                  </a:cubicBezTo>
                  <a:cubicBezTo>
                    <a:pt x="77" y="66"/>
                    <a:pt x="76" y="65"/>
                    <a:pt x="76" y="64"/>
                  </a:cubicBezTo>
                  <a:cubicBezTo>
                    <a:pt x="76" y="63"/>
                    <a:pt x="77" y="62"/>
                    <a:pt x="78" y="6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5" y="62"/>
                    <a:pt x="86" y="63"/>
                    <a:pt x="86" y="64"/>
                  </a:cubicBezTo>
                  <a:cubicBezTo>
                    <a:pt x="86" y="65"/>
                    <a:pt x="85" y="66"/>
                    <a:pt x="84" y="66"/>
                  </a:cubicBezTo>
                  <a:close/>
                  <a:moveTo>
                    <a:pt x="84" y="56"/>
                  </a:moveTo>
                  <a:cubicBezTo>
                    <a:pt x="78" y="56"/>
                    <a:pt x="78" y="56"/>
                    <a:pt x="78" y="56"/>
                  </a:cubicBezTo>
                  <a:cubicBezTo>
                    <a:pt x="77" y="56"/>
                    <a:pt x="76" y="55"/>
                    <a:pt x="76" y="54"/>
                  </a:cubicBezTo>
                  <a:cubicBezTo>
                    <a:pt x="76" y="53"/>
                    <a:pt x="77" y="52"/>
                    <a:pt x="78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5" y="52"/>
                    <a:pt x="86" y="53"/>
                    <a:pt x="86" y="54"/>
                  </a:cubicBezTo>
                  <a:cubicBezTo>
                    <a:pt x="86" y="55"/>
                    <a:pt x="85" y="56"/>
                    <a:pt x="8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8" name="Freeform 92">
              <a:extLst>
                <a:ext uri="{FF2B5EF4-FFF2-40B4-BE49-F238E27FC236}">
                  <a16:creationId xmlns:a16="http://schemas.microsoft.com/office/drawing/2014/main" id="{03664086-8E00-441D-B8B8-E42353D2F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3970338"/>
              <a:ext cx="217488" cy="71438"/>
            </a:xfrm>
            <a:custGeom>
              <a:avLst/>
              <a:gdLst>
                <a:gd name="T0" fmla="*/ 3 w 58"/>
                <a:gd name="T1" fmla="*/ 13 h 19"/>
                <a:gd name="T2" fmla="*/ 9 w 58"/>
                <a:gd name="T3" fmla="*/ 12 h 19"/>
                <a:gd name="T4" fmla="*/ 36 w 58"/>
                <a:gd name="T5" fmla="*/ 19 h 19"/>
                <a:gd name="T6" fmla="*/ 58 w 58"/>
                <a:gd name="T7" fmla="*/ 5 h 19"/>
                <a:gd name="T8" fmla="*/ 58 w 58"/>
                <a:gd name="T9" fmla="*/ 2 h 19"/>
                <a:gd name="T10" fmla="*/ 55 w 58"/>
                <a:gd name="T11" fmla="*/ 2 h 19"/>
                <a:gd name="T12" fmla="*/ 44 w 58"/>
                <a:gd name="T13" fmla="*/ 6 h 19"/>
                <a:gd name="T14" fmla="*/ 18 w 58"/>
                <a:gd name="T15" fmla="*/ 0 h 19"/>
                <a:gd name="T16" fmla="*/ 0 w 58"/>
                <a:gd name="T17" fmla="*/ 11 h 19"/>
                <a:gd name="T18" fmla="*/ 1 w 58"/>
                <a:gd name="T19" fmla="*/ 13 h 19"/>
                <a:gd name="T20" fmla="*/ 3 w 58"/>
                <a:gd name="T21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19">
                  <a:moveTo>
                    <a:pt x="3" y="13"/>
                  </a:moveTo>
                  <a:cubicBezTo>
                    <a:pt x="5" y="12"/>
                    <a:pt x="7" y="12"/>
                    <a:pt x="9" y="12"/>
                  </a:cubicBezTo>
                  <a:cubicBezTo>
                    <a:pt x="17" y="12"/>
                    <a:pt x="26" y="19"/>
                    <a:pt x="36" y="19"/>
                  </a:cubicBezTo>
                  <a:cubicBezTo>
                    <a:pt x="44" y="19"/>
                    <a:pt x="51" y="14"/>
                    <a:pt x="58" y="5"/>
                  </a:cubicBezTo>
                  <a:cubicBezTo>
                    <a:pt x="58" y="4"/>
                    <a:pt x="58" y="3"/>
                    <a:pt x="58" y="2"/>
                  </a:cubicBezTo>
                  <a:cubicBezTo>
                    <a:pt x="57" y="2"/>
                    <a:pt x="56" y="2"/>
                    <a:pt x="55" y="2"/>
                  </a:cubicBezTo>
                  <a:cubicBezTo>
                    <a:pt x="52" y="5"/>
                    <a:pt x="48" y="6"/>
                    <a:pt x="44" y="6"/>
                  </a:cubicBezTo>
                  <a:cubicBezTo>
                    <a:pt x="36" y="6"/>
                    <a:pt x="27" y="0"/>
                    <a:pt x="18" y="0"/>
                  </a:cubicBezTo>
                  <a:cubicBezTo>
                    <a:pt x="11" y="0"/>
                    <a:pt x="6" y="4"/>
                    <a:pt x="0" y="11"/>
                  </a:cubicBezTo>
                  <a:cubicBezTo>
                    <a:pt x="0" y="11"/>
                    <a:pt x="0" y="12"/>
                    <a:pt x="1" y="13"/>
                  </a:cubicBezTo>
                  <a:cubicBezTo>
                    <a:pt x="1" y="14"/>
                    <a:pt x="2" y="14"/>
                    <a:pt x="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8952F3DF-411E-4994-B7A6-F24CDDE92036}"/>
              </a:ext>
            </a:extLst>
          </p:cNvPr>
          <p:cNvSpPr/>
          <p:nvPr/>
        </p:nvSpPr>
        <p:spPr>
          <a:xfrm rot="10800000">
            <a:off x="609601" y="1891740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9751F826-2C3F-4C32-8727-2D308B3FEF6A}"/>
              </a:ext>
            </a:extLst>
          </p:cNvPr>
          <p:cNvSpPr/>
          <p:nvPr/>
        </p:nvSpPr>
        <p:spPr>
          <a:xfrm rot="10800000">
            <a:off x="3383989" y="1891740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0F270C2C-2BB3-432F-9EA3-2D2E1558DAA0}"/>
              </a:ext>
            </a:extLst>
          </p:cNvPr>
          <p:cNvSpPr/>
          <p:nvPr/>
        </p:nvSpPr>
        <p:spPr>
          <a:xfrm rot="10800000">
            <a:off x="6151769" y="1891740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B3ECDDE-153C-498C-8279-7E1B01032378}"/>
              </a:ext>
            </a:extLst>
          </p:cNvPr>
          <p:cNvSpPr txBox="1"/>
          <p:nvPr/>
        </p:nvSpPr>
        <p:spPr>
          <a:xfrm>
            <a:off x="549523" y="3432129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2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B6B62EF-E205-48CB-A136-E3FA5826F861}"/>
              </a:ext>
            </a:extLst>
          </p:cNvPr>
          <p:cNvSpPr txBox="1"/>
          <p:nvPr/>
        </p:nvSpPr>
        <p:spPr>
          <a:xfrm>
            <a:off x="3183837" y="3429001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3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4534FCC-0377-4A82-9703-5B4072F9D10F}"/>
              </a:ext>
            </a:extLst>
          </p:cNvPr>
          <p:cNvSpPr txBox="1"/>
          <p:nvPr/>
        </p:nvSpPr>
        <p:spPr>
          <a:xfrm>
            <a:off x="5906895" y="3406188"/>
            <a:ext cx="155707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</a:p>
        </p:txBody>
      </p:sp>
      <p:sp>
        <p:nvSpPr>
          <p:cNvPr id="32" name="Google Shape;1496;p40">
            <a:extLst>
              <a:ext uri="{FF2B5EF4-FFF2-40B4-BE49-F238E27FC236}">
                <a16:creationId xmlns:a16="http://schemas.microsoft.com/office/drawing/2014/main" id="{B6FBE398-6A0A-4CB5-894F-6033699DD2E7}"/>
              </a:ext>
            </a:extLst>
          </p:cNvPr>
          <p:cNvSpPr txBox="1"/>
          <p:nvPr/>
        </p:nvSpPr>
        <p:spPr>
          <a:xfrm>
            <a:off x="2105395" y="980089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EBAAB950-5BEC-41D8-9E53-6AA0B01AE56E}"/>
              </a:ext>
            </a:extLst>
          </p:cNvPr>
          <p:cNvSpPr txBox="1"/>
          <p:nvPr/>
        </p:nvSpPr>
        <p:spPr>
          <a:xfrm>
            <a:off x="2361154" y="1081770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35" name="Group 38">
            <a:extLst>
              <a:ext uri="{FF2B5EF4-FFF2-40B4-BE49-F238E27FC236}">
                <a16:creationId xmlns:a16="http://schemas.microsoft.com/office/drawing/2014/main" id="{D8448722-8863-4719-9112-565658839564}"/>
              </a:ext>
            </a:extLst>
          </p:cNvPr>
          <p:cNvGrpSpPr/>
          <p:nvPr/>
        </p:nvGrpSpPr>
        <p:grpSpPr>
          <a:xfrm>
            <a:off x="9016941" y="2168041"/>
            <a:ext cx="1133683" cy="1133683"/>
            <a:chOff x="2656596" y="5354331"/>
            <a:chExt cx="1133683" cy="1133683"/>
          </a:xfrm>
        </p:grpSpPr>
        <p:grpSp>
          <p:nvGrpSpPr>
            <p:cNvPr id="39" name="Group 20">
              <a:extLst>
                <a:ext uri="{FF2B5EF4-FFF2-40B4-BE49-F238E27FC236}">
                  <a16:creationId xmlns:a16="http://schemas.microsoft.com/office/drawing/2014/main" id="{5114FFD0-7179-4B91-8CE4-205679C605A1}"/>
                </a:ext>
              </a:extLst>
            </p:cNvPr>
            <p:cNvGrpSpPr/>
            <p:nvPr/>
          </p:nvGrpSpPr>
          <p:grpSpPr>
            <a:xfrm>
              <a:off x="2656596" y="5354331"/>
              <a:ext cx="1133683" cy="1133683"/>
              <a:chOff x="2656596" y="5354331"/>
              <a:chExt cx="1133683" cy="1133683"/>
            </a:xfrm>
          </p:grpSpPr>
          <p:sp>
            <p:nvSpPr>
              <p:cNvPr id="45" name="Oval 31">
                <a:extLst>
                  <a:ext uri="{FF2B5EF4-FFF2-40B4-BE49-F238E27FC236}">
                    <a16:creationId xmlns:a16="http://schemas.microsoft.com/office/drawing/2014/main" id="{13F2914C-CA3B-40BF-826D-D5905CC9356C}"/>
                  </a:ext>
                </a:extLst>
              </p:cNvPr>
              <p:cNvSpPr/>
              <p:nvPr/>
            </p:nvSpPr>
            <p:spPr>
              <a:xfrm>
                <a:off x="2656596" y="5354331"/>
                <a:ext cx="1133683" cy="113368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6" name="Oval 36">
                <a:extLst>
                  <a:ext uri="{FF2B5EF4-FFF2-40B4-BE49-F238E27FC236}">
                    <a16:creationId xmlns:a16="http://schemas.microsoft.com/office/drawing/2014/main" id="{3C317DED-6242-486B-B45A-00ECD5705F0D}"/>
                  </a:ext>
                </a:extLst>
              </p:cNvPr>
              <p:cNvSpPr/>
              <p:nvPr/>
            </p:nvSpPr>
            <p:spPr>
              <a:xfrm>
                <a:off x="2754280" y="5452015"/>
                <a:ext cx="938314" cy="938314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40" name="Group 43">
              <a:extLst>
                <a:ext uri="{FF2B5EF4-FFF2-40B4-BE49-F238E27FC236}">
                  <a16:creationId xmlns:a16="http://schemas.microsoft.com/office/drawing/2014/main" id="{775DEDB9-2490-433E-9638-E367BB0F5ED7}"/>
                </a:ext>
              </a:extLst>
            </p:cNvPr>
            <p:cNvGrpSpPr/>
            <p:nvPr/>
          </p:nvGrpSpPr>
          <p:grpSpPr>
            <a:xfrm>
              <a:off x="3047224" y="5740991"/>
              <a:ext cx="352426" cy="360363"/>
              <a:chOff x="5562600" y="4332288"/>
              <a:chExt cx="352426" cy="360363"/>
            </a:xfrm>
            <a:solidFill>
              <a:schemeClr val="accent1"/>
            </a:solidFill>
          </p:grpSpPr>
          <p:sp>
            <p:nvSpPr>
              <p:cNvPr id="41" name="Oval 127">
                <a:extLst>
                  <a:ext uri="{FF2B5EF4-FFF2-40B4-BE49-F238E27FC236}">
                    <a16:creationId xmlns:a16="http://schemas.microsoft.com/office/drawing/2014/main" id="{7E0124BF-29AE-419B-A1A9-3D3744BB17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2763" y="4332288"/>
                <a:ext cx="120650" cy="1206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2" name="Freeform 128">
                <a:extLst>
                  <a:ext uri="{FF2B5EF4-FFF2-40B4-BE49-F238E27FC236}">
                    <a16:creationId xmlns:a16="http://schemas.microsoft.com/office/drawing/2014/main" id="{B44B4B8B-CAAE-4C27-A623-31CC589E0F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4467226"/>
                <a:ext cx="180975" cy="225425"/>
              </a:xfrm>
              <a:custGeom>
                <a:avLst/>
                <a:gdLst>
                  <a:gd name="T0" fmla="*/ 28 w 48"/>
                  <a:gd name="T1" fmla="*/ 0 h 60"/>
                  <a:gd name="T2" fmla="*/ 30 w 48"/>
                  <a:gd name="T3" fmla="*/ 27 h 60"/>
                  <a:gd name="T4" fmla="*/ 24 w 48"/>
                  <a:gd name="T5" fmla="*/ 33 h 60"/>
                  <a:gd name="T6" fmla="*/ 18 w 48"/>
                  <a:gd name="T7" fmla="*/ 27 h 60"/>
                  <a:gd name="T8" fmla="*/ 20 w 48"/>
                  <a:gd name="T9" fmla="*/ 0 h 60"/>
                  <a:gd name="T10" fmla="*/ 0 w 48"/>
                  <a:gd name="T11" fmla="*/ 0 h 60"/>
                  <a:gd name="T12" fmla="*/ 0 w 48"/>
                  <a:gd name="T13" fmla="*/ 2 h 60"/>
                  <a:gd name="T14" fmla="*/ 14 w 48"/>
                  <a:gd name="T15" fmla="*/ 33 h 60"/>
                  <a:gd name="T16" fmla="*/ 14 w 48"/>
                  <a:gd name="T17" fmla="*/ 60 h 60"/>
                  <a:gd name="T18" fmla="*/ 34 w 48"/>
                  <a:gd name="T19" fmla="*/ 60 h 60"/>
                  <a:gd name="T20" fmla="*/ 34 w 48"/>
                  <a:gd name="T21" fmla="*/ 33 h 60"/>
                  <a:gd name="T22" fmla="*/ 48 w 48"/>
                  <a:gd name="T23" fmla="*/ 2 h 60"/>
                  <a:gd name="T24" fmla="*/ 48 w 48"/>
                  <a:gd name="T25" fmla="*/ 0 h 60"/>
                  <a:gd name="T26" fmla="*/ 28 w 48"/>
                  <a:gd name="T2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60">
                    <a:moveTo>
                      <a:pt x="28" y="0"/>
                    </a:move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34" y="60"/>
                      <a:pt x="34" y="60"/>
                      <a:pt x="34" y="60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0"/>
                      <a:pt x="48" y="0"/>
                      <a:pt x="48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3" name="Freeform 129">
                <a:extLst>
                  <a:ext uri="{FF2B5EF4-FFF2-40B4-BE49-F238E27FC236}">
                    <a16:creationId xmlns:a16="http://schemas.microsoft.com/office/drawing/2014/main" id="{F36EA160-9E81-49A9-AB1C-4818188467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97538" y="4346576"/>
                <a:ext cx="217488" cy="225425"/>
              </a:xfrm>
              <a:custGeom>
                <a:avLst/>
                <a:gdLst>
                  <a:gd name="T0" fmla="*/ 4 w 58"/>
                  <a:gd name="T1" fmla="*/ 0 h 60"/>
                  <a:gd name="T2" fmla="*/ 8 w 58"/>
                  <a:gd name="T3" fmla="*/ 12 h 60"/>
                  <a:gd name="T4" fmla="*/ 0 w 58"/>
                  <a:gd name="T5" fmla="*/ 28 h 60"/>
                  <a:gd name="T6" fmla="*/ 16 w 58"/>
                  <a:gd name="T7" fmla="*/ 28 h 60"/>
                  <a:gd name="T8" fmla="*/ 16 w 58"/>
                  <a:gd name="T9" fmla="*/ 34 h 60"/>
                  <a:gd name="T10" fmla="*/ 9 w 58"/>
                  <a:gd name="T11" fmla="*/ 60 h 60"/>
                  <a:gd name="T12" fmla="*/ 58 w 58"/>
                  <a:gd name="T13" fmla="*/ 60 h 60"/>
                  <a:gd name="T14" fmla="*/ 58 w 58"/>
                  <a:gd name="T15" fmla="*/ 0 h 60"/>
                  <a:gd name="T16" fmla="*/ 4 w 58"/>
                  <a:gd name="T17" fmla="*/ 0 h 60"/>
                  <a:gd name="T18" fmla="*/ 45 w 58"/>
                  <a:gd name="T19" fmla="*/ 44 h 60"/>
                  <a:gd name="T20" fmla="*/ 44 w 58"/>
                  <a:gd name="T21" fmla="*/ 44 h 60"/>
                  <a:gd name="T22" fmla="*/ 43 w 58"/>
                  <a:gd name="T23" fmla="*/ 43 h 60"/>
                  <a:gd name="T24" fmla="*/ 40 w 58"/>
                  <a:gd name="T25" fmla="*/ 36 h 60"/>
                  <a:gd name="T26" fmla="*/ 28 w 58"/>
                  <a:gd name="T27" fmla="*/ 36 h 60"/>
                  <a:gd name="T28" fmla="*/ 25 w 58"/>
                  <a:gd name="T29" fmla="*/ 43 h 60"/>
                  <a:gd name="T30" fmla="*/ 23 w 58"/>
                  <a:gd name="T31" fmla="*/ 44 h 60"/>
                  <a:gd name="T32" fmla="*/ 22 w 58"/>
                  <a:gd name="T33" fmla="*/ 41 h 60"/>
                  <a:gd name="T34" fmla="*/ 32 w 58"/>
                  <a:gd name="T35" fmla="*/ 14 h 60"/>
                  <a:gd name="T36" fmla="*/ 34 w 58"/>
                  <a:gd name="T37" fmla="*/ 12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4" y="0"/>
                    </a:move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8" y="60"/>
                      <a:pt x="58" y="60"/>
                      <a:pt x="58" y="6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4" y="0"/>
                    </a:lnTo>
                    <a:close/>
                    <a:moveTo>
                      <a:pt x="45" y="44"/>
                    </a:moveTo>
                    <a:cubicBezTo>
                      <a:pt x="45" y="44"/>
                      <a:pt x="45" y="44"/>
                      <a:pt x="44" y="44"/>
                    </a:cubicBez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3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2" y="13"/>
                      <a:pt x="33" y="12"/>
                      <a:pt x="34" y="12"/>
                    </a:cubicBezTo>
                    <a:cubicBezTo>
                      <a:pt x="35" y="12"/>
                      <a:pt x="36" y="13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44" name="Freeform 130">
                <a:extLst>
                  <a:ext uri="{FF2B5EF4-FFF2-40B4-BE49-F238E27FC236}">
                    <a16:creationId xmlns:a16="http://schemas.microsoft.com/office/drawing/2014/main" id="{5372569B-558B-4A53-B351-EF77D2AC6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250" y="4422776"/>
                <a:ext cx="34925" cy="44450"/>
              </a:xfrm>
              <a:custGeom>
                <a:avLst/>
                <a:gdLst>
                  <a:gd name="T0" fmla="*/ 0 w 22"/>
                  <a:gd name="T1" fmla="*/ 28 h 28"/>
                  <a:gd name="T2" fmla="*/ 22 w 22"/>
                  <a:gd name="T3" fmla="*/ 28 h 28"/>
                  <a:gd name="T4" fmla="*/ 10 w 22"/>
                  <a:gd name="T5" fmla="*/ 0 h 28"/>
                  <a:gd name="T6" fmla="*/ 0 w 22"/>
                  <a:gd name="T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28">
                    <a:moveTo>
                      <a:pt x="0" y="28"/>
                    </a:moveTo>
                    <a:lnTo>
                      <a:pt x="22" y="28"/>
                    </a:lnTo>
                    <a:lnTo>
                      <a:pt x="10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1FEB386-E808-4415-AC54-5B56335BC662}"/>
              </a:ext>
            </a:extLst>
          </p:cNvPr>
          <p:cNvSpPr txBox="1"/>
          <p:nvPr/>
        </p:nvSpPr>
        <p:spPr>
          <a:xfrm>
            <a:off x="8728637" y="3429001"/>
            <a:ext cx="1952448" cy="18466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chemeClr val="bg1"/>
                </a:solidFill>
                <a:latin typeface="+mj-ea"/>
                <a:ea typeface="+mj-ea"/>
                <a:cs typeface="+mn-ea"/>
                <a:sym typeface="+mn-lt"/>
              </a:rPr>
              <a:t>Synergistically utilize technically sound portals with</a:t>
            </a:r>
            <a:r>
              <a:rPr lang="en-US" sz="1000" kern="0" dirty="0">
                <a:solidFill>
                  <a:schemeClr val="bg1"/>
                </a:solidFill>
                <a:latin typeface="+mj-ea"/>
                <a:ea typeface="+mj-ea"/>
                <a:cs typeface="+mn-ea"/>
                <a:sym typeface="+mn-lt"/>
              </a:rPr>
              <a:t>,</a:t>
            </a:r>
            <a:r>
              <a:rPr lang="en-US" altLang="zh-CN" sz="1000" kern="0" dirty="0">
                <a:solidFill>
                  <a:schemeClr val="bg1"/>
                </a:solidFill>
                <a:latin typeface="+mj-ea"/>
                <a:ea typeface="+mj-ea"/>
                <a:cs typeface="+mn-ea"/>
                <a:sym typeface="+mn-lt"/>
              </a:rPr>
              <a:t> Synergistically utilize technically sound,  Synergistically/Synergistically utilize technically sound portals with, Synergistically utilize technically sound,</a:t>
            </a:r>
          </a:p>
        </p:txBody>
      </p:sp>
    </p:spTree>
    <p:extLst>
      <p:ext uri="{BB962C8B-B14F-4D97-AF65-F5344CB8AC3E}">
        <p14:creationId xmlns:p14="http://schemas.microsoft.com/office/powerpoint/2010/main" val="264987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31" grpId="0" animBg="1"/>
      <p:bldP spid="4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5100" y="6369819"/>
            <a:ext cx="274434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6096001" y="1817440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>
            <a:extLst>
              <a:ext uri="{FF2B5EF4-FFF2-40B4-BE49-F238E27FC236}">
                <a16:creationId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0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335DD443-E2CB-42AD-B9A3-9D9173848429}"/>
              </a:ext>
            </a:extLst>
          </p:cNvPr>
          <p:cNvSpPr/>
          <p:nvPr/>
        </p:nvSpPr>
        <p:spPr>
          <a:xfrm>
            <a:off x="-1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" name="Google Shape;1496;p40">
            <a:extLst>
              <a:ext uri="{FF2B5EF4-FFF2-40B4-BE49-F238E27FC236}">
                <a16:creationId xmlns:a16="http://schemas.microsoft.com/office/drawing/2014/main" id="{62687021-3FF7-499B-B1D6-2394985446FD}"/>
              </a:ext>
            </a:extLst>
          </p:cNvPr>
          <p:cNvSpPr txBox="1"/>
          <p:nvPr/>
        </p:nvSpPr>
        <p:spPr>
          <a:xfrm>
            <a:off x="6096000" y="2133179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B100579-2EEE-4086-B64E-FC543C4EAFEB}"/>
              </a:ext>
            </a:extLst>
          </p:cNvPr>
          <p:cNvSpPr txBox="1"/>
          <p:nvPr/>
        </p:nvSpPr>
        <p:spPr>
          <a:xfrm>
            <a:off x="6351758" y="2234860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Google Shape;1945;p43">
            <a:extLst>
              <a:ext uri="{FF2B5EF4-FFF2-40B4-BE49-F238E27FC236}">
                <a16:creationId xmlns:a16="http://schemas.microsoft.com/office/drawing/2014/main" id="{DDA4216D-1573-42B3-A4BF-8EA1EFB18A9D}"/>
              </a:ext>
            </a:extLst>
          </p:cNvPr>
          <p:cNvSpPr/>
          <p:nvPr/>
        </p:nvSpPr>
        <p:spPr>
          <a:xfrm>
            <a:off x="5957104" y="2967487"/>
            <a:ext cx="4841059" cy="736695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0182961-B5CE-4CCE-BDB1-6C8507D858EC}"/>
              </a:ext>
            </a:extLst>
          </p:cNvPr>
          <p:cNvSpPr txBox="1"/>
          <p:nvPr/>
        </p:nvSpPr>
        <p:spPr>
          <a:xfrm>
            <a:off x="6587203" y="3108572"/>
            <a:ext cx="387227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1000" kern="0" dirty="0" err="1">
                <a:solidFill>
                  <a:schemeClr val="bg1"/>
                </a:solidFill>
                <a:cs typeface="+mn-ea"/>
                <a:sym typeface="+mn-lt"/>
              </a:rPr>
              <a:t>chains</a:t>
            </a:r>
            <a:r>
              <a:rPr lang="en-US" altLang="zh-CN" sz="1000" kern="0" dirty="0" err="1">
                <a:solidFill>
                  <a:schemeClr val="bg1"/>
                </a:solidFill>
                <a:cs typeface="+mn-ea"/>
                <a:sym typeface="+mn-lt"/>
              </a:rPr>
              <a:t>Synergistically</a:t>
            </a:r>
            <a:r>
              <a:rPr lang="zh-CN" altLang="en-US" sz="1000" kern="0" dirty="0">
                <a:solidFill>
                  <a:schemeClr val="bg1"/>
                </a:solidFill>
                <a:cs typeface="+mn-ea"/>
                <a:sym typeface="+mn-lt"/>
              </a:rPr>
              <a:t>，</a:t>
            </a:r>
            <a:r>
              <a:rPr lang="en-US" altLang="zh-CN" sz="1000" kern="0" dirty="0">
                <a:solidFill>
                  <a:schemeClr val="bg1"/>
                </a:solidFill>
                <a:cs typeface="+mn-ea"/>
                <a:sym typeface="+mn-lt"/>
              </a:rPr>
              <a:t>Synergistically utilize</a:t>
            </a:r>
          </a:p>
        </p:txBody>
      </p:sp>
      <p:sp>
        <p:nvSpPr>
          <p:cNvPr id="13" name="Google Shape;1945;p43">
            <a:extLst>
              <a:ext uri="{FF2B5EF4-FFF2-40B4-BE49-F238E27FC236}">
                <a16:creationId xmlns:a16="http://schemas.microsoft.com/office/drawing/2014/main" id="{DC214AB6-EE79-4C5D-92C2-3692767BE09F}"/>
              </a:ext>
            </a:extLst>
          </p:cNvPr>
          <p:cNvSpPr/>
          <p:nvPr/>
        </p:nvSpPr>
        <p:spPr>
          <a:xfrm>
            <a:off x="5957104" y="3956578"/>
            <a:ext cx="4841059" cy="736695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56FB51B-80B2-46BE-898E-C6BA4A275914}"/>
              </a:ext>
            </a:extLst>
          </p:cNvPr>
          <p:cNvSpPr txBox="1"/>
          <p:nvPr/>
        </p:nvSpPr>
        <p:spPr>
          <a:xfrm>
            <a:off x="6587203" y="4097663"/>
            <a:ext cx="387227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1000" kern="0" dirty="0" err="1">
                <a:solidFill>
                  <a:schemeClr val="bg1"/>
                </a:solidFill>
                <a:cs typeface="+mn-ea"/>
                <a:sym typeface="+mn-lt"/>
              </a:rPr>
              <a:t>chains</a:t>
            </a:r>
            <a:r>
              <a:rPr lang="en-US" altLang="zh-CN" sz="1000" kern="0" dirty="0" err="1">
                <a:solidFill>
                  <a:schemeClr val="bg1"/>
                </a:solidFill>
                <a:cs typeface="+mn-ea"/>
                <a:sym typeface="+mn-lt"/>
              </a:rPr>
              <a:t>Synergistically</a:t>
            </a:r>
            <a:r>
              <a:rPr lang="zh-CN" altLang="en-US" sz="1000" kern="0" dirty="0">
                <a:solidFill>
                  <a:schemeClr val="bg1"/>
                </a:solidFill>
                <a:cs typeface="+mn-ea"/>
                <a:sym typeface="+mn-lt"/>
              </a:rPr>
              <a:t>，</a:t>
            </a:r>
            <a:r>
              <a:rPr lang="en-US" altLang="zh-CN" sz="1000" kern="0" dirty="0">
                <a:solidFill>
                  <a:schemeClr val="bg1"/>
                </a:solidFill>
                <a:cs typeface="+mn-ea"/>
                <a:sym typeface="+mn-lt"/>
              </a:rPr>
              <a:t>Synergistically utilize</a:t>
            </a:r>
          </a:p>
        </p:txBody>
      </p:sp>
      <p:sp>
        <p:nvSpPr>
          <p:cNvPr id="15" name="Google Shape;1945;p43">
            <a:extLst>
              <a:ext uri="{FF2B5EF4-FFF2-40B4-BE49-F238E27FC236}">
                <a16:creationId xmlns:a16="http://schemas.microsoft.com/office/drawing/2014/main" id="{811F6A2C-26E6-4A55-ADF2-190E45F6FDF2}"/>
              </a:ext>
            </a:extLst>
          </p:cNvPr>
          <p:cNvSpPr/>
          <p:nvPr/>
        </p:nvSpPr>
        <p:spPr>
          <a:xfrm>
            <a:off x="5957104" y="4981335"/>
            <a:ext cx="4841059" cy="736695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sz="2000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9DE1BC2-C2F4-4AE8-8405-D5F4241453ED}"/>
              </a:ext>
            </a:extLst>
          </p:cNvPr>
          <p:cNvSpPr txBox="1"/>
          <p:nvPr/>
        </p:nvSpPr>
        <p:spPr>
          <a:xfrm>
            <a:off x="6587203" y="5122420"/>
            <a:ext cx="387227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1000" kern="0" dirty="0" err="1">
                <a:solidFill>
                  <a:schemeClr val="bg1"/>
                </a:solidFill>
                <a:cs typeface="+mn-ea"/>
                <a:sym typeface="+mn-lt"/>
              </a:rPr>
              <a:t>chains</a:t>
            </a:r>
            <a:r>
              <a:rPr lang="en-US" altLang="zh-CN" sz="1000" kern="0" dirty="0" err="1">
                <a:solidFill>
                  <a:schemeClr val="bg1"/>
                </a:solidFill>
                <a:cs typeface="+mn-ea"/>
                <a:sym typeface="+mn-lt"/>
              </a:rPr>
              <a:t>Synergistically</a:t>
            </a:r>
            <a:r>
              <a:rPr lang="zh-CN" altLang="en-US" sz="1000" kern="0" dirty="0">
                <a:solidFill>
                  <a:schemeClr val="bg1"/>
                </a:solidFill>
                <a:cs typeface="+mn-ea"/>
                <a:sym typeface="+mn-lt"/>
              </a:rPr>
              <a:t>，</a:t>
            </a:r>
            <a:r>
              <a:rPr lang="en-US" altLang="zh-CN" sz="1000" kern="0" dirty="0">
                <a:solidFill>
                  <a:schemeClr val="bg1"/>
                </a:solidFill>
                <a:cs typeface="+mn-ea"/>
                <a:sym typeface="+mn-lt"/>
              </a:rPr>
              <a:t>Synergistically utilize</a:t>
            </a: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EDDCF830-82E1-49C8-83CC-60E49CE9B1D6}"/>
              </a:ext>
            </a:extLst>
          </p:cNvPr>
          <p:cNvSpPr/>
          <p:nvPr/>
        </p:nvSpPr>
        <p:spPr>
          <a:xfrm>
            <a:off x="2068867" y="5243386"/>
            <a:ext cx="188572" cy="18857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3F3E47"/>
              </a:solidFill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38F98505-C5E9-4FFF-8033-6F85EA766A5D}"/>
              </a:ext>
            </a:extLst>
          </p:cNvPr>
          <p:cNvSpPr/>
          <p:nvPr/>
        </p:nvSpPr>
        <p:spPr>
          <a:xfrm>
            <a:off x="815214" y="5009522"/>
            <a:ext cx="188572" cy="18857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3F3E47"/>
              </a:solidFill>
              <a:cs typeface="+mn-ea"/>
              <a:sym typeface="+mn-lt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DC331C6B-7C1A-4D8C-B19D-0F1FE80E1572}"/>
              </a:ext>
            </a:extLst>
          </p:cNvPr>
          <p:cNvSpPr/>
          <p:nvPr/>
        </p:nvSpPr>
        <p:spPr>
          <a:xfrm>
            <a:off x="1316628" y="4443656"/>
            <a:ext cx="532051" cy="5320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3F3E47"/>
              </a:solidFill>
              <a:cs typeface="+mn-ea"/>
              <a:sym typeface="+mn-lt"/>
            </a:endParaRPr>
          </a:p>
        </p:txBody>
      </p:sp>
      <p:sp>
        <p:nvSpPr>
          <p:cNvPr id="2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B99DBB3-4AB4-4D1B-B13D-84BDB953AE6C}"/>
              </a:ext>
            </a:extLst>
          </p:cNvPr>
          <p:cNvSpPr txBox="1"/>
          <p:nvPr/>
        </p:nvSpPr>
        <p:spPr>
          <a:xfrm>
            <a:off x="1283801" y="2414344"/>
            <a:ext cx="1952448" cy="18466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 defTabSz="412750" hangingPunct="0">
              <a:lnSpc>
                <a:spcPct val="150000"/>
              </a:lnSpc>
              <a:defRPr sz="1000" b="0" kern="0">
                <a:solidFill>
                  <a:schemeClr val="bg1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/Synergistically utilize technically sound portals with, Synergistically utilize technically sound,</a:t>
            </a:r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6" grpId="0" animBg="1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7"/>
          <p:cNvSpPr/>
          <p:nvPr/>
        </p:nvSpPr>
        <p:spPr>
          <a:xfrm>
            <a:off x="6681300" y="4883747"/>
            <a:ext cx="4582088" cy="1308559"/>
          </a:xfrm>
          <a:custGeom>
            <a:avLst/>
            <a:gdLst/>
            <a:ahLst/>
            <a:cxnLst/>
            <a:rect l="l" t="t" r="r" b="b"/>
            <a:pathLst>
              <a:path w="105142" h="33665" fill="none" extrusionOk="0">
                <a:moveTo>
                  <a:pt x="24354" y="15866"/>
                </a:moveTo>
                <a:lnTo>
                  <a:pt x="1" y="33664"/>
                </a:lnTo>
                <a:lnTo>
                  <a:pt x="105142" y="33664"/>
                </a:lnTo>
                <a:lnTo>
                  <a:pt x="105142" y="0"/>
                </a:lnTo>
                <a:lnTo>
                  <a:pt x="32303" y="0"/>
                </a:lnTo>
                <a:close/>
              </a:path>
            </a:pathLst>
          </a:custGeom>
          <a:noFill/>
          <a:ln w="15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89" name="Google Shape;189;p17"/>
          <p:cNvSpPr/>
          <p:nvPr/>
        </p:nvSpPr>
        <p:spPr>
          <a:xfrm>
            <a:off x="7046669" y="3160369"/>
            <a:ext cx="4216567" cy="1308559"/>
          </a:xfrm>
          <a:custGeom>
            <a:avLst/>
            <a:gdLst/>
            <a:ahLst/>
            <a:cxnLst/>
            <a:rect l="l" t="t" r="r" b="b"/>
            <a:pathLst>
              <a:path w="93646" h="33665" fill="none" extrusionOk="0">
                <a:moveTo>
                  <a:pt x="16690" y="12447"/>
                </a:moveTo>
                <a:lnTo>
                  <a:pt x="26539" y="33665"/>
                </a:lnTo>
                <a:lnTo>
                  <a:pt x="93646" y="33665"/>
                </a:lnTo>
                <a:lnTo>
                  <a:pt x="93646" y="1"/>
                </a:lnTo>
                <a:lnTo>
                  <a:pt x="0" y="1"/>
                </a:lnTo>
                <a:close/>
              </a:path>
            </a:pathLst>
          </a:custGeom>
          <a:noFill/>
          <a:ln w="15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0" name="Google Shape;190;p17"/>
          <p:cNvSpPr/>
          <p:nvPr/>
        </p:nvSpPr>
        <p:spPr>
          <a:xfrm>
            <a:off x="943314" y="4883741"/>
            <a:ext cx="4968975" cy="1308559"/>
          </a:xfrm>
          <a:custGeom>
            <a:avLst/>
            <a:gdLst/>
            <a:ahLst/>
            <a:cxnLst/>
            <a:rect l="l" t="t" r="r" b="b"/>
            <a:pathLst>
              <a:path w="116670" h="33665" fill="none" extrusionOk="0">
                <a:moveTo>
                  <a:pt x="1" y="33664"/>
                </a:moveTo>
                <a:lnTo>
                  <a:pt x="116670" y="33664"/>
                </a:lnTo>
                <a:lnTo>
                  <a:pt x="90796" y="15866"/>
                </a:lnTo>
                <a:lnTo>
                  <a:pt x="77780" y="0"/>
                </a:lnTo>
                <a:lnTo>
                  <a:pt x="1" y="0"/>
                </a:lnTo>
                <a:close/>
              </a:path>
            </a:pathLst>
          </a:custGeom>
          <a:noFill/>
          <a:ln w="15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1" name="Google Shape;191;p17"/>
          <p:cNvSpPr/>
          <p:nvPr/>
        </p:nvSpPr>
        <p:spPr>
          <a:xfrm>
            <a:off x="933900" y="3157907"/>
            <a:ext cx="5258928" cy="1311008"/>
          </a:xfrm>
          <a:custGeom>
            <a:avLst/>
            <a:gdLst/>
            <a:ahLst/>
            <a:cxnLst/>
            <a:rect l="l" t="t" r="r" b="b"/>
            <a:pathLst>
              <a:path w="123478" h="33728" fill="none" extrusionOk="0">
                <a:moveTo>
                  <a:pt x="222" y="33728"/>
                </a:moveTo>
                <a:lnTo>
                  <a:pt x="111665" y="33728"/>
                </a:lnTo>
                <a:lnTo>
                  <a:pt x="110589" y="15930"/>
                </a:lnTo>
                <a:lnTo>
                  <a:pt x="123478" y="0"/>
                </a:lnTo>
                <a:lnTo>
                  <a:pt x="0" y="0"/>
                </a:lnTo>
                <a:close/>
              </a:path>
            </a:pathLst>
          </a:custGeom>
          <a:noFill/>
          <a:ln w="15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2" name="Google Shape;192;p17"/>
          <p:cNvSpPr/>
          <p:nvPr/>
        </p:nvSpPr>
        <p:spPr>
          <a:xfrm>
            <a:off x="943312" y="1435768"/>
            <a:ext cx="5137589" cy="1308559"/>
          </a:xfrm>
          <a:custGeom>
            <a:avLst/>
            <a:gdLst/>
            <a:ahLst/>
            <a:cxnLst/>
            <a:rect l="l" t="t" r="r" b="b"/>
            <a:pathLst>
              <a:path w="120629" h="33665" fill="none" extrusionOk="0">
                <a:moveTo>
                  <a:pt x="1" y="33665"/>
                </a:moveTo>
                <a:lnTo>
                  <a:pt x="78477" y="33665"/>
                </a:lnTo>
                <a:lnTo>
                  <a:pt x="90796" y="15898"/>
                </a:lnTo>
                <a:lnTo>
                  <a:pt x="120628" y="1"/>
                </a:lnTo>
                <a:lnTo>
                  <a:pt x="1" y="1"/>
                </a:lnTo>
                <a:close/>
              </a:path>
            </a:pathLst>
          </a:custGeom>
          <a:noFill/>
          <a:ln w="15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3" name="Google Shape;193;p17"/>
          <p:cNvSpPr/>
          <p:nvPr/>
        </p:nvSpPr>
        <p:spPr>
          <a:xfrm>
            <a:off x="5380171" y="2856315"/>
            <a:ext cx="1298724" cy="2381953"/>
          </a:xfrm>
          <a:custGeom>
            <a:avLst/>
            <a:gdLst/>
            <a:ahLst/>
            <a:cxnLst/>
            <a:rect l="l" t="t" r="r" b="b"/>
            <a:pathLst>
              <a:path w="33412" h="61280" extrusionOk="0">
                <a:moveTo>
                  <a:pt x="33411" y="0"/>
                </a:moveTo>
                <a:cubicBezTo>
                  <a:pt x="15012" y="0"/>
                  <a:pt x="0" y="15011"/>
                  <a:pt x="0" y="33411"/>
                </a:cubicBezTo>
                <a:cubicBezTo>
                  <a:pt x="0" y="48771"/>
                  <a:pt x="12510" y="61280"/>
                  <a:pt x="27869" y="61280"/>
                </a:cubicBezTo>
                <a:lnTo>
                  <a:pt x="27869" y="50006"/>
                </a:lnTo>
                <a:cubicBezTo>
                  <a:pt x="18717" y="50006"/>
                  <a:pt x="11275" y="42563"/>
                  <a:pt x="11275" y="33411"/>
                </a:cubicBezTo>
                <a:cubicBezTo>
                  <a:pt x="11275" y="21187"/>
                  <a:pt x="21219" y="11275"/>
                  <a:pt x="33411" y="11275"/>
                </a:cubicBezTo>
                <a:lnTo>
                  <a:pt x="33411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94" name="Google Shape;194;p17"/>
          <p:cNvSpPr/>
          <p:nvPr/>
        </p:nvSpPr>
        <p:spPr>
          <a:xfrm>
            <a:off x="6680063" y="2856313"/>
            <a:ext cx="1568327" cy="1569532"/>
          </a:xfrm>
          <a:custGeom>
            <a:avLst/>
            <a:gdLst/>
            <a:ahLst/>
            <a:cxnLst/>
            <a:rect l="l" t="t" r="r" b="b"/>
            <a:pathLst>
              <a:path w="40348" h="40379" extrusionOk="0">
                <a:moveTo>
                  <a:pt x="1" y="0"/>
                </a:moveTo>
                <a:lnTo>
                  <a:pt x="1" y="11275"/>
                </a:lnTo>
                <a:cubicBezTo>
                  <a:pt x="16025" y="11275"/>
                  <a:pt x="29105" y="24322"/>
                  <a:pt x="29105" y="40378"/>
                </a:cubicBezTo>
                <a:lnTo>
                  <a:pt x="40347" y="40378"/>
                </a:lnTo>
                <a:cubicBezTo>
                  <a:pt x="40347" y="18115"/>
                  <a:pt x="22233" y="0"/>
                  <a:pt x="1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95" name="Google Shape;195;p17"/>
          <p:cNvSpPr/>
          <p:nvPr/>
        </p:nvSpPr>
        <p:spPr>
          <a:xfrm>
            <a:off x="6341544" y="4425806"/>
            <a:ext cx="1906845" cy="1905563"/>
          </a:xfrm>
          <a:custGeom>
            <a:avLst/>
            <a:gdLst/>
            <a:ahLst/>
            <a:cxnLst/>
            <a:rect l="l" t="t" r="r" b="b"/>
            <a:pathLst>
              <a:path w="49057" h="49024" extrusionOk="0">
                <a:moveTo>
                  <a:pt x="37814" y="0"/>
                </a:moveTo>
                <a:cubicBezTo>
                  <a:pt x="37814" y="20838"/>
                  <a:pt x="20839" y="37781"/>
                  <a:pt x="1" y="37781"/>
                </a:cubicBezTo>
                <a:lnTo>
                  <a:pt x="1" y="49024"/>
                </a:lnTo>
                <a:cubicBezTo>
                  <a:pt x="27046" y="49024"/>
                  <a:pt x="49056" y="27045"/>
                  <a:pt x="49056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96" name="Google Shape;196;p17"/>
          <p:cNvSpPr/>
          <p:nvPr/>
        </p:nvSpPr>
        <p:spPr>
          <a:xfrm>
            <a:off x="4013773" y="4003560"/>
            <a:ext cx="2327808" cy="2327808"/>
          </a:xfrm>
          <a:custGeom>
            <a:avLst/>
            <a:gdLst/>
            <a:ahLst/>
            <a:cxnLst/>
            <a:rect l="l" t="t" r="r" b="b"/>
            <a:pathLst>
              <a:path w="59887" h="59887" extrusionOk="0">
                <a:moveTo>
                  <a:pt x="1" y="1"/>
                </a:moveTo>
                <a:cubicBezTo>
                  <a:pt x="1" y="15994"/>
                  <a:pt x="6240" y="31036"/>
                  <a:pt x="17545" y="42342"/>
                </a:cubicBezTo>
                <a:cubicBezTo>
                  <a:pt x="28851" y="53680"/>
                  <a:pt x="43894" y="59887"/>
                  <a:pt x="59887" y="59887"/>
                </a:cubicBezTo>
                <a:lnTo>
                  <a:pt x="59887" y="48644"/>
                </a:lnTo>
                <a:cubicBezTo>
                  <a:pt x="33063" y="48644"/>
                  <a:pt x="11243" y="26824"/>
                  <a:pt x="11243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97" name="Google Shape;197;p17"/>
          <p:cNvSpPr/>
          <p:nvPr/>
        </p:nvSpPr>
        <p:spPr>
          <a:xfrm>
            <a:off x="4013773" y="1147741"/>
            <a:ext cx="2855896" cy="2855856"/>
          </a:xfrm>
          <a:custGeom>
            <a:avLst/>
            <a:gdLst/>
            <a:ahLst/>
            <a:cxnLst/>
            <a:rect l="l" t="t" r="r" b="b"/>
            <a:pathLst>
              <a:path w="73473" h="73472" extrusionOk="0">
                <a:moveTo>
                  <a:pt x="73473" y="0"/>
                </a:moveTo>
                <a:cubicBezTo>
                  <a:pt x="53838" y="0"/>
                  <a:pt x="35375" y="7664"/>
                  <a:pt x="21504" y="21535"/>
                </a:cubicBezTo>
                <a:cubicBezTo>
                  <a:pt x="7633" y="35406"/>
                  <a:pt x="1" y="53837"/>
                  <a:pt x="1" y="73472"/>
                </a:cubicBezTo>
                <a:lnTo>
                  <a:pt x="11243" y="73472"/>
                </a:lnTo>
                <a:cubicBezTo>
                  <a:pt x="11243" y="39174"/>
                  <a:pt x="39175" y="11274"/>
                  <a:pt x="73473" y="11274"/>
                </a:cubicBezTo>
                <a:lnTo>
                  <a:pt x="73473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98" name="Google Shape;198;p17"/>
          <p:cNvSpPr/>
          <p:nvPr/>
        </p:nvSpPr>
        <p:spPr>
          <a:xfrm>
            <a:off x="5489708" y="2976927"/>
            <a:ext cx="1189189" cy="2162883"/>
          </a:xfrm>
          <a:custGeom>
            <a:avLst/>
            <a:gdLst/>
            <a:ahLst/>
            <a:cxnLst/>
            <a:rect l="l" t="t" r="r" b="b"/>
            <a:pathLst>
              <a:path w="30594" h="55644" extrusionOk="0">
                <a:moveTo>
                  <a:pt x="30593" y="1"/>
                </a:moveTo>
                <a:cubicBezTo>
                  <a:pt x="13745" y="1"/>
                  <a:pt x="1" y="13745"/>
                  <a:pt x="1" y="30593"/>
                </a:cubicBezTo>
                <a:cubicBezTo>
                  <a:pt x="1" y="44401"/>
                  <a:pt x="11243" y="55643"/>
                  <a:pt x="25051" y="55643"/>
                </a:cubicBezTo>
                <a:lnTo>
                  <a:pt x="25051" y="50006"/>
                </a:lnTo>
                <a:cubicBezTo>
                  <a:pt x="14347" y="50006"/>
                  <a:pt x="5638" y="41297"/>
                  <a:pt x="5638" y="30593"/>
                </a:cubicBezTo>
                <a:cubicBezTo>
                  <a:pt x="5638" y="16849"/>
                  <a:pt x="16849" y="5638"/>
                  <a:pt x="30593" y="5638"/>
                </a:cubicBezTo>
                <a:lnTo>
                  <a:pt x="30593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99" name="Google Shape;199;p17"/>
          <p:cNvSpPr/>
          <p:nvPr/>
        </p:nvSpPr>
        <p:spPr>
          <a:xfrm>
            <a:off x="6678856" y="2976926"/>
            <a:ext cx="1459957" cy="1459996"/>
          </a:xfrm>
          <a:custGeom>
            <a:avLst/>
            <a:gdLst/>
            <a:ahLst/>
            <a:cxnLst/>
            <a:rect l="l" t="t" r="r" b="b"/>
            <a:pathLst>
              <a:path w="37560" h="37561" extrusionOk="0">
                <a:moveTo>
                  <a:pt x="0" y="1"/>
                </a:moveTo>
                <a:lnTo>
                  <a:pt x="0" y="5638"/>
                </a:lnTo>
                <a:cubicBezTo>
                  <a:pt x="17608" y="5638"/>
                  <a:pt x="31923" y="19952"/>
                  <a:pt x="31923" y="37560"/>
                </a:cubicBezTo>
                <a:lnTo>
                  <a:pt x="37560" y="37560"/>
                </a:lnTo>
                <a:cubicBezTo>
                  <a:pt x="37560" y="16849"/>
                  <a:pt x="20712" y="1"/>
                  <a:pt x="0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0" name="Google Shape;200;p17"/>
          <p:cNvSpPr/>
          <p:nvPr/>
        </p:nvSpPr>
        <p:spPr>
          <a:xfrm>
            <a:off x="6341545" y="4436885"/>
            <a:ext cx="1797271" cy="1796027"/>
          </a:xfrm>
          <a:custGeom>
            <a:avLst/>
            <a:gdLst/>
            <a:ahLst/>
            <a:cxnLst/>
            <a:rect l="l" t="t" r="r" b="b"/>
            <a:pathLst>
              <a:path w="46238" h="46206" extrusionOk="0">
                <a:moveTo>
                  <a:pt x="40601" y="0"/>
                </a:moveTo>
                <a:cubicBezTo>
                  <a:pt x="40601" y="22390"/>
                  <a:pt x="22391" y="40600"/>
                  <a:pt x="1" y="40600"/>
                </a:cubicBezTo>
                <a:lnTo>
                  <a:pt x="1" y="46205"/>
                </a:lnTo>
                <a:cubicBezTo>
                  <a:pt x="25495" y="46205"/>
                  <a:pt x="46238" y="25494"/>
                  <a:pt x="46238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1" name="Google Shape;201;p17"/>
          <p:cNvSpPr/>
          <p:nvPr/>
        </p:nvSpPr>
        <p:spPr>
          <a:xfrm>
            <a:off x="4123350" y="4014637"/>
            <a:ext cx="2218233" cy="2218272"/>
          </a:xfrm>
          <a:custGeom>
            <a:avLst/>
            <a:gdLst/>
            <a:ahLst/>
            <a:cxnLst/>
            <a:rect l="l" t="t" r="r" b="b"/>
            <a:pathLst>
              <a:path w="57068" h="57069" extrusionOk="0">
                <a:moveTo>
                  <a:pt x="0" y="1"/>
                </a:moveTo>
                <a:cubicBezTo>
                  <a:pt x="0" y="15234"/>
                  <a:pt x="5922" y="29580"/>
                  <a:pt x="16722" y="40347"/>
                </a:cubicBezTo>
                <a:cubicBezTo>
                  <a:pt x="27489" y="51146"/>
                  <a:pt x="41835" y="57068"/>
                  <a:pt x="57068" y="57068"/>
                </a:cubicBezTo>
                <a:lnTo>
                  <a:pt x="57068" y="51463"/>
                </a:lnTo>
                <a:cubicBezTo>
                  <a:pt x="28724" y="51463"/>
                  <a:pt x="5637" y="28376"/>
                  <a:pt x="563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2" name="Google Shape;202;p17"/>
          <p:cNvSpPr/>
          <p:nvPr/>
        </p:nvSpPr>
        <p:spPr>
          <a:xfrm>
            <a:off x="4123350" y="1268357"/>
            <a:ext cx="2746321" cy="2746321"/>
          </a:xfrm>
          <a:custGeom>
            <a:avLst/>
            <a:gdLst/>
            <a:ahLst/>
            <a:cxnLst/>
            <a:rect l="l" t="t" r="r" b="b"/>
            <a:pathLst>
              <a:path w="70654" h="70654" extrusionOk="0">
                <a:moveTo>
                  <a:pt x="70654" y="1"/>
                </a:moveTo>
                <a:cubicBezTo>
                  <a:pt x="51779" y="1"/>
                  <a:pt x="34013" y="7348"/>
                  <a:pt x="20680" y="20680"/>
                </a:cubicBezTo>
                <a:cubicBezTo>
                  <a:pt x="7348" y="34045"/>
                  <a:pt x="0" y="51779"/>
                  <a:pt x="0" y="70654"/>
                </a:cubicBezTo>
                <a:lnTo>
                  <a:pt x="5606" y="70654"/>
                </a:lnTo>
                <a:cubicBezTo>
                  <a:pt x="5606" y="34805"/>
                  <a:pt x="34773" y="5638"/>
                  <a:pt x="70654" y="5638"/>
                </a:cubicBezTo>
                <a:lnTo>
                  <a:pt x="70654" y="1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3" name="Google Shape;203;p17"/>
          <p:cNvSpPr/>
          <p:nvPr/>
        </p:nvSpPr>
        <p:spPr>
          <a:xfrm>
            <a:off x="6315695" y="4891079"/>
            <a:ext cx="291797" cy="265988"/>
          </a:xfrm>
          <a:custGeom>
            <a:avLst/>
            <a:gdLst/>
            <a:ahLst/>
            <a:cxnLst/>
            <a:rect l="l" t="t" r="r" b="b"/>
            <a:pathLst>
              <a:path w="7507" h="6843" extrusionOk="0">
                <a:moveTo>
                  <a:pt x="3730" y="0"/>
                </a:moveTo>
                <a:cubicBezTo>
                  <a:pt x="2186" y="0"/>
                  <a:pt x="791" y="1061"/>
                  <a:pt x="413" y="2630"/>
                </a:cubicBezTo>
                <a:cubicBezTo>
                  <a:pt x="1" y="4466"/>
                  <a:pt x="1141" y="6303"/>
                  <a:pt x="2978" y="6747"/>
                </a:cubicBezTo>
                <a:cubicBezTo>
                  <a:pt x="3246" y="6811"/>
                  <a:pt x="3514" y="6842"/>
                  <a:pt x="3778" y="6842"/>
                </a:cubicBezTo>
                <a:cubicBezTo>
                  <a:pt x="5320" y="6842"/>
                  <a:pt x="6711" y="5782"/>
                  <a:pt x="7063" y="4213"/>
                </a:cubicBezTo>
                <a:cubicBezTo>
                  <a:pt x="7506" y="2376"/>
                  <a:pt x="6366" y="539"/>
                  <a:pt x="4530" y="96"/>
                </a:cubicBezTo>
                <a:cubicBezTo>
                  <a:pt x="4261" y="31"/>
                  <a:pt x="3993" y="0"/>
                  <a:pt x="373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04" name="Google Shape;204;p17"/>
          <p:cNvSpPr/>
          <p:nvPr/>
        </p:nvSpPr>
        <p:spPr>
          <a:xfrm>
            <a:off x="6363699" y="4926802"/>
            <a:ext cx="195788" cy="195749"/>
          </a:xfrm>
          <a:custGeom>
            <a:avLst/>
            <a:gdLst/>
            <a:ahLst/>
            <a:cxnLst/>
            <a:rect l="l" t="t" r="r" b="b"/>
            <a:pathLst>
              <a:path w="5037" h="5036" extrusionOk="0">
                <a:moveTo>
                  <a:pt x="2503" y="0"/>
                </a:moveTo>
                <a:cubicBezTo>
                  <a:pt x="1109" y="0"/>
                  <a:pt x="1" y="1109"/>
                  <a:pt x="1" y="2502"/>
                </a:cubicBezTo>
                <a:cubicBezTo>
                  <a:pt x="1" y="3896"/>
                  <a:pt x="1109" y="5036"/>
                  <a:pt x="2503" y="5036"/>
                </a:cubicBezTo>
                <a:cubicBezTo>
                  <a:pt x="3896" y="5036"/>
                  <a:pt x="5036" y="3896"/>
                  <a:pt x="5036" y="2502"/>
                </a:cubicBezTo>
                <a:cubicBezTo>
                  <a:pt x="5036" y="1109"/>
                  <a:pt x="3896" y="0"/>
                  <a:pt x="250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05" name="Google Shape;205;p17"/>
          <p:cNvSpPr/>
          <p:nvPr/>
        </p:nvSpPr>
        <p:spPr>
          <a:xfrm>
            <a:off x="6435105" y="4964273"/>
            <a:ext cx="70199" cy="120147"/>
          </a:xfrm>
          <a:custGeom>
            <a:avLst/>
            <a:gdLst/>
            <a:ahLst/>
            <a:cxnLst/>
            <a:rect l="l" t="t" r="r" b="b"/>
            <a:pathLst>
              <a:path w="1806" h="3091" extrusionOk="0">
                <a:moveTo>
                  <a:pt x="391" y="1"/>
                </a:moveTo>
                <a:cubicBezTo>
                  <a:pt x="310" y="1"/>
                  <a:pt x="229" y="26"/>
                  <a:pt x="159" y="82"/>
                </a:cubicBezTo>
                <a:cubicBezTo>
                  <a:pt x="1" y="208"/>
                  <a:pt x="1" y="462"/>
                  <a:pt x="127" y="588"/>
                </a:cubicBezTo>
                <a:lnTo>
                  <a:pt x="951" y="1538"/>
                </a:lnTo>
                <a:lnTo>
                  <a:pt x="127" y="2488"/>
                </a:lnTo>
                <a:cubicBezTo>
                  <a:pt x="1" y="2615"/>
                  <a:pt x="1" y="2868"/>
                  <a:pt x="159" y="2995"/>
                </a:cubicBezTo>
                <a:cubicBezTo>
                  <a:pt x="222" y="3058"/>
                  <a:pt x="317" y="3090"/>
                  <a:pt x="381" y="3090"/>
                </a:cubicBezTo>
                <a:cubicBezTo>
                  <a:pt x="508" y="3090"/>
                  <a:pt x="603" y="3027"/>
                  <a:pt x="666" y="2963"/>
                </a:cubicBezTo>
                <a:lnTo>
                  <a:pt x="1711" y="1760"/>
                </a:lnTo>
                <a:cubicBezTo>
                  <a:pt x="1806" y="1633"/>
                  <a:pt x="1806" y="1443"/>
                  <a:pt x="1711" y="1285"/>
                </a:cubicBezTo>
                <a:lnTo>
                  <a:pt x="666" y="113"/>
                </a:lnTo>
                <a:cubicBezTo>
                  <a:pt x="595" y="42"/>
                  <a:pt x="494" y="1"/>
                  <a:pt x="391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06" name="Google Shape;206;p17"/>
          <p:cNvSpPr/>
          <p:nvPr/>
        </p:nvSpPr>
        <p:spPr>
          <a:xfrm>
            <a:off x="6197532" y="5996506"/>
            <a:ext cx="264705" cy="264705"/>
          </a:xfrm>
          <a:custGeom>
            <a:avLst/>
            <a:gdLst/>
            <a:ahLst/>
            <a:cxnLst/>
            <a:rect l="l" t="t" r="r" b="b"/>
            <a:pathLst>
              <a:path w="6810" h="6810" extrusionOk="0">
                <a:moveTo>
                  <a:pt x="3421" y="1"/>
                </a:moveTo>
                <a:cubicBezTo>
                  <a:pt x="1521" y="1"/>
                  <a:pt x="1" y="1521"/>
                  <a:pt x="1" y="3421"/>
                </a:cubicBezTo>
                <a:cubicBezTo>
                  <a:pt x="1" y="5289"/>
                  <a:pt x="1521" y="6810"/>
                  <a:pt x="3421" y="6810"/>
                </a:cubicBezTo>
                <a:cubicBezTo>
                  <a:pt x="5289" y="6810"/>
                  <a:pt x="6810" y="5289"/>
                  <a:pt x="6810" y="3421"/>
                </a:cubicBezTo>
                <a:cubicBezTo>
                  <a:pt x="6810" y="1521"/>
                  <a:pt x="5289" y="1"/>
                  <a:pt x="342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07" name="Google Shape;207;p17"/>
          <p:cNvSpPr/>
          <p:nvPr/>
        </p:nvSpPr>
        <p:spPr>
          <a:xfrm>
            <a:off x="6232008" y="6030982"/>
            <a:ext cx="195749" cy="195749"/>
          </a:xfrm>
          <a:custGeom>
            <a:avLst/>
            <a:gdLst/>
            <a:ahLst/>
            <a:cxnLst/>
            <a:rect l="l" t="t" r="r" b="b"/>
            <a:pathLst>
              <a:path w="5036" h="5036" extrusionOk="0">
                <a:moveTo>
                  <a:pt x="2502" y="0"/>
                </a:moveTo>
                <a:cubicBezTo>
                  <a:pt x="1140" y="0"/>
                  <a:pt x="0" y="1141"/>
                  <a:pt x="0" y="2534"/>
                </a:cubicBezTo>
                <a:cubicBezTo>
                  <a:pt x="0" y="3896"/>
                  <a:pt x="1140" y="5036"/>
                  <a:pt x="2502" y="5036"/>
                </a:cubicBezTo>
                <a:cubicBezTo>
                  <a:pt x="3896" y="5036"/>
                  <a:pt x="5036" y="3896"/>
                  <a:pt x="5036" y="2534"/>
                </a:cubicBezTo>
                <a:cubicBezTo>
                  <a:pt x="5036" y="1141"/>
                  <a:pt x="3896" y="0"/>
                  <a:pt x="250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08" name="Google Shape;208;p17"/>
          <p:cNvSpPr/>
          <p:nvPr/>
        </p:nvSpPr>
        <p:spPr>
          <a:xfrm>
            <a:off x="6304618" y="6069269"/>
            <a:ext cx="70239" cy="119331"/>
          </a:xfrm>
          <a:custGeom>
            <a:avLst/>
            <a:gdLst/>
            <a:ahLst/>
            <a:cxnLst/>
            <a:rect l="l" t="t" r="r" b="b"/>
            <a:pathLst>
              <a:path w="1807" h="3070" extrusionOk="0">
                <a:moveTo>
                  <a:pt x="409" y="1"/>
                </a:moveTo>
                <a:cubicBezTo>
                  <a:pt x="323" y="1"/>
                  <a:pt x="234" y="32"/>
                  <a:pt x="159" y="92"/>
                </a:cubicBezTo>
                <a:cubicBezTo>
                  <a:pt x="1" y="219"/>
                  <a:pt x="1" y="441"/>
                  <a:pt x="128" y="599"/>
                </a:cubicBezTo>
                <a:lnTo>
                  <a:pt x="951" y="1517"/>
                </a:lnTo>
                <a:lnTo>
                  <a:pt x="128" y="2467"/>
                </a:lnTo>
                <a:cubicBezTo>
                  <a:pt x="1" y="2626"/>
                  <a:pt x="1" y="2847"/>
                  <a:pt x="159" y="2974"/>
                </a:cubicBezTo>
                <a:cubicBezTo>
                  <a:pt x="223" y="3037"/>
                  <a:pt x="318" y="3069"/>
                  <a:pt x="381" y="3069"/>
                </a:cubicBezTo>
                <a:cubicBezTo>
                  <a:pt x="508" y="3069"/>
                  <a:pt x="603" y="3037"/>
                  <a:pt x="666" y="2942"/>
                </a:cubicBezTo>
                <a:lnTo>
                  <a:pt x="1711" y="1771"/>
                </a:lnTo>
                <a:cubicBezTo>
                  <a:pt x="1806" y="1644"/>
                  <a:pt x="1806" y="1422"/>
                  <a:pt x="1711" y="1296"/>
                </a:cubicBezTo>
                <a:lnTo>
                  <a:pt x="666" y="124"/>
                </a:lnTo>
                <a:cubicBezTo>
                  <a:pt x="599" y="40"/>
                  <a:pt x="506" y="1"/>
                  <a:pt x="40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09" name="Google Shape;209;p17"/>
          <p:cNvSpPr/>
          <p:nvPr/>
        </p:nvSpPr>
        <p:spPr>
          <a:xfrm>
            <a:off x="4097502" y="3874318"/>
            <a:ext cx="264705" cy="265948"/>
          </a:xfrm>
          <a:custGeom>
            <a:avLst/>
            <a:gdLst/>
            <a:ahLst/>
            <a:cxnLst/>
            <a:rect l="l" t="t" r="r" b="b"/>
            <a:pathLst>
              <a:path w="6810" h="6842" extrusionOk="0">
                <a:moveTo>
                  <a:pt x="6809" y="3421"/>
                </a:moveTo>
                <a:cubicBezTo>
                  <a:pt x="6809" y="5289"/>
                  <a:pt x="5289" y="6841"/>
                  <a:pt x="3420" y="6841"/>
                </a:cubicBezTo>
                <a:cubicBezTo>
                  <a:pt x="1520" y="6841"/>
                  <a:pt x="0" y="5289"/>
                  <a:pt x="0" y="3421"/>
                </a:cubicBezTo>
                <a:cubicBezTo>
                  <a:pt x="0" y="1521"/>
                  <a:pt x="1520" y="1"/>
                  <a:pt x="3420" y="1"/>
                </a:cubicBezTo>
                <a:cubicBezTo>
                  <a:pt x="5289" y="1"/>
                  <a:pt x="6809" y="1521"/>
                  <a:pt x="6809" y="34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0" name="Google Shape;210;p17"/>
          <p:cNvSpPr/>
          <p:nvPr/>
        </p:nvSpPr>
        <p:spPr>
          <a:xfrm>
            <a:off x="4131939" y="3908797"/>
            <a:ext cx="195788" cy="195749"/>
          </a:xfrm>
          <a:custGeom>
            <a:avLst/>
            <a:gdLst/>
            <a:ahLst/>
            <a:cxnLst/>
            <a:rect l="l" t="t" r="r" b="b"/>
            <a:pathLst>
              <a:path w="5037" h="5036" extrusionOk="0">
                <a:moveTo>
                  <a:pt x="2534" y="5036"/>
                </a:moveTo>
                <a:cubicBezTo>
                  <a:pt x="1141" y="5036"/>
                  <a:pt x="1" y="3927"/>
                  <a:pt x="1" y="2534"/>
                </a:cubicBezTo>
                <a:cubicBezTo>
                  <a:pt x="1" y="1140"/>
                  <a:pt x="1141" y="0"/>
                  <a:pt x="2534" y="0"/>
                </a:cubicBezTo>
                <a:cubicBezTo>
                  <a:pt x="3928" y="0"/>
                  <a:pt x="5036" y="1140"/>
                  <a:pt x="5036" y="2534"/>
                </a:cubicBezTo>
                <a:cubicBezTo>
                  <a:pt x="5036" y="3927"/>
                  <a:pt x="3928" y="5036"/>
                  <a:pt x="2534" y="50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1" name="Google Shape;211;p17"/>
          <p:cNvSpPr/>
          <p:nvPr/>
        </p:nvSpPr>
        <p:spPr>
          <a:xfrm>
            <a:off x="4168904" y="3972115"/>
            <a:ext cx="123101" cy="68411"/>
          </a:xfrm>
          <a:custGeom>
            <a:avLst/>
            <a:gdLst/>
            <a:ahLst/>
            <a:cxnLst/>
            <a:rect l="l" t="t" r="r" b="b"/>
            <a:pathLst>
              <a:path w="3167" h="1760" extrusionOk="0">
                <a:moveTo>
                  <a:pt x="402" y="1"/>
                </a:moveTo>
                <a:cubicBezTo>
                  <a:pt x="299" y="1"/>
                  <a:pt x="198" y="42"/>
                  <a:pt x="127" y="113"/>
                </a:cubicBezTo>
                <a:cubicBezTo>
                  <a:pt x="0" y="271"/>
                  <a:pt x="0" y="493"/>
                  <a:pt x="158" y="620"/>
                </a:cubicBezTo>
                <a:lnTo>
                  <a:pt x="1330" y="1665"/>
                </a:lnTo>
                <a:cubicBezTo>
                  <a:pt x="1393" y="1728"/>
                  <a:pt x="1488" y="1760"/>
                  <a:pt x="1583" y="1760"/>
                </a:cubicBezTo>
                <a:cubicBezTo>
                  <a:pt x="1647" y="1760"/>
                  <a:pt x="1742" y="1728"/>
                  <a:pt x="1805" y="1665"/>
                </a:cubicBezTo>
                <a:lnTo>
                  <a:pt x="2977" y="620"/>
                </a:lnTo>
                <a:cubicBezTo>
                  <a:pt x="3135" y="493"/>
                  <a:pt x="3167" y="271"/>
                  <a:pt x="3009" y="113"/>
                </a:cubicBezTo>
                <a:cubicBezTo>
                  <a:pt x="2937" y="42"/>
                  <a:pt x="2836" y="1"/>
                  <a:pt x="2733" y="1"/>
                </a:cubicBezTo>
                <a:cubicBezTo>
                  <a:pt x="2653" y="1"/>
                  <a:pt x="2571" y="26"/>
                  <a:pt x="2502" y="81"/>
                </a:cubicBezTo>
                <a:lnTo>
                  <a:pt x="1583" y="905"/>
                </a:lnTo>
                <a:lnTo>
                  <a:pt x="633" y="81"/>
                </a:lnTo>
                <a:cubicBezTo>
                  <a:pt x="564" y="26"/>
                  <a:pt x="482" y="1"/>
                  <a:pt x="40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2" name="Google Shape;212;p17"/>
          <p:cNvSpPr/>
          <p:nvPr/>
        </p:nvSpPr>
        <p:spPr>
          <a:xfrm>
            <a:off x="7892574" y="4301462"/>
            <a:ext cx="264705" cy="264705"/>
          </a:xfrm>
          <a:custGeom>
            <a:avLst/>
            <a:gdLst/>
            <a:ahLst/>
            <a:cxnLst/>
            <a:rect l="l" t="t" r="r" b="b"/>
            <a:pathLst>
              <a:path w="6810" h="6810" extrusionOk="0">
                <a:moveTo>
                  <a:pt x="3421" y="1"/>
                </a:moveTo>
                <a:cubicBezTo>
                  <a:pt x="1521" y="1"/>
                  <a:pt x="1" y="1521"/>
                  <a:pt x="1" y="3389"/>
                </a:cubicBezTo>
                <a:cubicBezTo>
                  <a:pt x="1" y="5289"/>
                  <a:pt x="1521" y="6810"/>
                  <a:pt x="3421" y="6810"/>
                </a:cubicBezTo>
                <a:cubicBezTo>
                  <a:pt x="5290" y="6810"/>
                  <a:pt x="6810" y="5289"/>
                  <a:pt x="6810" y="3389"/>
                </a:cubicBezTo>
                <a:cubicBezTo>
                  <a:pt x="6810" y="1521"/>
                  <a:pt x="5290" y="1"/>
                  <a:pt x="342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3" name="Google Shape;213;p17"/>
          <p:cNvSpPr/>
          <p:nvPr/>
        </p:nvSpPr>
        <p:spPr>
          <a:xfrm>
            <a:off x="7927051" y="4335940"/>
            <a:ext cx="195788" cy="195749"/>
          </a:xfrm>
          <a:custGeom>
            <a:avLst/>
            <a:gdLst/>
            <a:ahLst/>
            <a:cxnLst/>
            <a:rect l="l" t="t" r="r" b="b"/>
            <a:pathLst>
              <a:path w="5037" h="5036" extrusionOk="0">
                <a:moveTo>
                  <a:pt x="2534" y="0"/>
                </a:moveTo>
                <a:cubicBezTo>
                  <a:pt x="1141" y="0"/>
                  <a:pt x="1" y="1109"/>
                  <a:pt x="1" y="2502"/>
                </a:cubicBezTo>
                <a:cubicBezTo>
                  <a:pt x="1" y="3896"/>
                  <a:pt x="1141" y="5036"/>
                  <a:pt x="2534" y="5036"/>
                </a:cubicBezTo>
                <a:cubicBezTo>
                  <a:pt x="3928" y="5036"/>
                  <a:pt x="5036" y="3896"/>
                  <a:pt x="5036" y="2502"/>
                </a:cubicBezTo>
                <a:cubicBezTo>
                  <a:pt x="5036" y="1109"/>
                  <a:pt x="3928" y="0"/>
                  <a:pt x="253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4" name="Google Shape;214;p17"/>
          <p:cNvSpPr/>
          <p:nvPr/>
        </p:nvSpPr>
        <p:spPr>
          <a:xfrm>
            <a:off x="7963978" y="4383942"/>
            <a:ext cx="121935" cy="68956"/>
          </a:xfrm>
          <a:custGeom>
            <a:avLst/>
            <a:gdLst/>
            <a:ahLst/>
            <a:cxnLst/>
            <a:rect l="l" t="t" r="r" b="b"/>
            <a:pathLst>
              <a:path w="3137" h="1774" extrusionOk="0">
                <a:moveTo>
                  <a:pt x="1568" y="1"/>
                </a:moveTo>
                <a:cubicBezTo>
                  <a:pt x="1481" y="1"/>
                  <a:pt x="1394" y="32"/>
                  <a:pt x="1331" y="96"/>
                </a:cubicBezTo>
                <a:lnTo>
                  <a:pt x="159" y="1141"/>
                </a:lnTo>
                <a:cubicBezTo>
                  <a:pt x="1" y="1267"/>
                  <a:pt x="1" y="1489"/>
                  <a:pt x="127" y="1647"/>
                </a:cubicBezTo>
                <a:cubicBezTo>
                  <a:pt x="194" y="1731"/>
                  <a:pt x="288" y="1770"/>
                  <a:pt x="384" y="1770"/>
                </a:cubicBezTo>
                <a:cubicBezTo>
                  <a:pt x="471" y="1770"/>
                  <a:pt x="559" y="1739"/>
                  <a:pt x="634" y="1679"/>
                </a:cubicBezTo>
                <a:lnTo>
                  <a:pt x="1553" y="856"/>
                </a:lnTo>
                <a:lnTo>
                  <a:pt x="2503" y="1679"/>
                </a:lnTo>
                <a:cubicBezTo>
                  <a:pt x="2566" y="1742"/>
                  <a:pt x="2661" y="1774"/>
                  <a:pt x="2756" y="1774"/>
                </a:cubicBezTo>
                <a:cubicBezTo>
                  <a:pt x="2851" y="1774"/>
                  <a:pt x="2946" y="1742"/>
                  <a:pt x="3009" y="1647"/>
                </a:cubicBezTo>
                <a:cubicBezTo>
                  <a:pt x="3136" y="1489"/>
                  <a:pt x="3136" y="1267"/>
                  <a:pt x="2978" y="1141"/>
                </a:cubicBezTo>
                <a:lnTo>
                  <a:pt x="1806" y="96"/>
                </a:lnTo>
                <a:cubicBezTo>
                  <a:pt x="1743" y="32"/>
                  <a:pt x="1655" y="1"/>
                  <a:pt x="1568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5" name="Google Shape;215;p17"/>
          <p:cNvSpPr/>
          <p:nvPr/>
        </p:nvSpPr>
        <p:spPr>
          <a:xfrm>
            <a:off x="6547127" y="2944935"/>
            <a:ext cx="265948" cy="265948"/>
          </a:xfrm>
          <a:custGeom>
            <a:avLst/>
            <a:gdLst/>
            <a:ahLst/>
            <a:cxnLst/>
            <a:rect l="l" t="t" r="r" b="b"/>
            <a:pathLst>
              <a:path w="6842" h="6842" extrusionOk="0">
                <a:moveTo>
                  <a:pt x="3421" y="1"/>
                </a:moveTo>
                <a:cubicBezTo>
                  <a:pt x="1521" y="1"/>
                  <a:pt x="1" y="1521"/>
                  <a:pt x="1" y="3421"/>
                </a:cubicBezTo>
                <a:cubicBezTo>
                  <a:pt x="1" y="5289"/>
                  <a:pt x="1521" y="6841"/>
                  <a:pt x="3421" y="6841"/>
                </a:cubicBezTo>
                <a:cubicBezTo>
                  <a:pt x="5289" y="6841"/>
                  <a:pt x="6841" y="5289"/>
                  <a:pt x="6841" y="3421"/>
                </a:cubicBezTo>
                <a:cubicBezTo>
                  <a:pt x="6841" y="1521"/>
                  <a:pt x="5289" y="1"/>
                  <a:pt x="3421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6" name="Google Shape;216;p17"/>
          <p:cNvSpPr/>
          <p:nvPr/>
        </p:nvSpPr>
        <p:spPr>
          <a:xfrm>
            <a:off x="6581604" y="2979416"/>
            <a:ext cx="195749" cy="195749"/>
          </a:xfrm>
          <a:custGeom>
            <a:avLst/>
            <a:gdLst/>
            <a:ahLst/>
            <a:cxnLst/>
            <a:rect l="l" t="t" r="r" b="b"/>
            <a:pathLst>
              <a:path w="5036" h="5036" extrusionOk="0">
                <a:moveTo>
                  <a:pt x="2534" y="0"/>
                </a:moveTo>
                <a:cubicBezTo>
                  <a:pt x="1141" y="0"/>
                  <a:pt x="0" y="1140"/>
                  <a:pt x="0" y="2534"/>
                </a:cubicBezTo>
                <a:cubicBezTo>
                  <a:pt x="0" y="3927"/>
                  <a:pt x="1141" y="5036"/>
                  <a:pt x="2534" y="5036"/>
                </a:cubicBezTo>
                <a:cubicBezTo>
                  <a:pt x="3927" y="5036"/>
                  <a:pt x="5036" y="3927"/>
                  <a:pt x="5036" y="2534"/>
                </a:cubicBezTo>
                <a:cubicBezTo>
                  <a:pt x="5036" y="1140"/>
                  <a:pt x="3927" y="0"/>
                  <a:pt x="253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7" name="Google Shape;217;p17"/>
          <p:cNvSpPr/>
          <p:nvPr/>
        </p:nvSpPr>
        <p:spPr>
          <a:xfrm>
            <a:off x="6629610" y="3017701"/>
            <a:ext cx="70199" cy="119292"/>
          </a:xfrm>
          <a:custGeom>
            <a:avLst/>
            <a:gdLst/>
            <a:ahLst/>
            <a:cxnLst/>
            <a:rect l="l" t="t" r="r" b="b"/>
            <a:pathLst>
              <a:path w="1806" h="3069" extrusionOk="0">
                <a:moveTo>
                  <a:pt x="1397" y="1"/>
                </a:moveTo>
                <a:cubicBezTo>
                  <a:pt x="1301" y="1"/>
                  <a:pt x="1207" y="40"/>
                  <a:pt x="1141" y="124"/>
                </a:cubicBezTo>
                <a:lnTo>
                  <a:pt x="96" y="1295"/>
                </a:lnTo>
                <a:cubicBezTo>
                  <a:pt x="1" y="1454"/>
                  <a:pt x="1" y="1644"/>
                  <a:pt x="96" y="1771"/>
                </a:cubicBezTo>
                <a:lnTo>
                  <a:pt x="1141" y="2942"/>
                </a:lnTo>
                <a:cubicBezTo>
                  <a:pt x="1204" y="3037"/>
                  <a:pt x="1331" y="3069"/>
                  <a:pt x="1426" y="3069"/>
                </a:cubicBezTo>
                <a:cubicBezTo>
                  <a:pt x="1489" y="3069"/>
                  <a:pt x="1584" y="3037"/>
                  <a:pt x="1647" y="2974"/>
                </a:cubicBezTo>
                <a:cubicBezTo>
                  <a:pt x="1806" y="2847"/>
                  <a:pt x="1806" y="2626"/>
                  <a:pt x="1679" y="2467"/>
                </a:cubicBezTo>
                <a:lnTo>
                  <a:pt x="856" y="1549"/>
                </a:lnTo>
                <a:lnTo>
                  <a:pt x="1679" y="599"/>
                </a:lnTo>
                <a:cubicBezTo>
                  <a:pt x="1806" y="440"/>
                  <a:pt x="1806" y="219"/>
                  <a:pt x="1647" y="92"/>
                </a:cubicBezTo>
                <a:cubicBezTo>
                  <a:pt x="1573" y="32"/>
                  <a:pt x="1484" y="1"/>
                  <a:pt x="1397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19" name="Google Shape;219;p17"/>
          <p:cNvSpPr txBox="1"/>
          <p:nvPr/>
        </p:nvSpPr>
        <p:spPr>
          <a:xfrm>
            <a:off x="658001" y="2836667"/>
            <a:ext cx="551600" cy="5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800" kern="0">
                <a:solidFill>
                  <a:srgbClr val="FFFFFF"/>
                </a:solidFill>
                <a:cs typeface="+mn-ea"/>
                <a:sym typeface="+mn-lt"/>
              </a:rPr>
              <a:t>1</a:t>
            </a:r>
            <a:endParaRPr sz="2800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20" name="Google Shape;220;p17"/>
          <p:cNvSpPr/>
          <p:nvPr/>
        </p:nvSpPr>
        <p:spPr>
          <a:xfrm>
            <a:off x="632993" y="2852622"/>
            <a:ext cx="610609" cy="610609"/>
          </a:xfrm>
          <a:custGeom>
            <a:avLst/>
            <a:gdLst/>
            <a:ahLst/>
            <a:cxnLst/>
            <a:rect l="l" t="t" r="r" b="b"/>
            <a:pathLst>
              <a:path w="15709" h="15709" extrusionOk="0">
                <a:moveTo>
                  <a:pt x="7854" y="0"/>
                </a:moveTo>
                <a:cubicBezTo>
                  <a:pt x="3516" y="0"/>
                  <a:pt x="0" y="3516"/>
                  <a:pt x="0" y="7854"/>
                </a:cubicBezTo>
                <a:cubicBezTo>
                  <a:pt x="0" y="12193"/>
                  <a:pt x="3516" y="15708"/>
                  <a:pt x="7854" y="15708"/>
                </a:cubicBezTo>
                <a:cubicBezTo>
                  <a:pt x="12193" y="15708"/>
                  <a:pt x="15708" y="12193"/>
                  <a:pt x="15708" y="7854"/>
                </a:cubicBezTo>
                <a:cubicBezTo>
                  <a:pt x="15708" y="3516"/>
                  <a:pt x="12193" y="0"/>
                  <a:pt x="7854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21" name="Google Shape;221;p17"/>
          <p:cNvSpPr/>
          <p:nvPr/>
        </p:nvSpPr>
        <p:spPr>
          <a:xfrm>
            <a:off x="609593" y="2829222"/>
            <a:ext cx="657369" cy="657369"/>
          </a:xfrm>
          <a:custGeom>
            <a:avLst/>
            <a:gdLst/>
            <a:ahLst/>
            <a:cxnLst/>
            <a:rect l="l" t="t" r="r" b="b"/>
            <a:pathLst>
              <a:path w="16912" h="16912" extrusionOk="0">
                <a:moveTo>
                  <a:pt x="8456" y="1172"/>
                </a:moveTo>
                <a:cubicBezTo>
                  <a:pt x="12447" y="1172"/>
                  <a:pt x="15709" y="4434"/>
                  <a:pt x="15709" y="8456"/>
                </a:cubicBezTo>
                <a:cubicBezTo>
                  <a:pt x="15709" y="12447"/>
                  <a:pt x="12447" y="15708"/>
                  <a:pt x="8456" y="15708"/>
                </a:cubicBezTo>
                <a:cubicBezTo>
                  <a:pt x="4434" y="15708"/>
                  <a:pt x="1172" y="12447"/>
                  <a:pt x="1172" y="8456"/>
                </a:cubicBezTo>
                <a:cubicBezTo>
                  <a:pt x="1172" y="4434"/>
                  <a:pt x="4434" y="1172"/>
                  <a:pt x="8456" y="1172"/>
                </a:cubicBezTo>
                <a:close/>
                <a:moveTo>
                  <a:pt x="8456" y="1"/>
                </a:moveTo>
                <a:cubicBezTo>
                  <a:pt x="3801" y="1"/>
                  <a:pt x="1" y="3801"/>
                  <a:pt x="1" y="8456"/>
                </a:cubicBezTo>
                <a:cubicBezTo>
                  <a:pt x="1" y="13112"/>
                  <a:pt x="3801" y="16912"/>
                  <a:pt x="8456" y="16912"/>
                </a:cubicBezTo>
                <a:cubicBezTo>
                  <a:pt x="13112" y="16912"/>
                  <a:pt x="16912" y="13112"/>
                  <a:pt x="16912" y="8456"/>
                </a:cubicBezTo>
                <a:cubicBezTo>
                  <a:pt x="16912" y="3801"/>
                  <a:pt x="13112" y="1"/>
                  <a:pt x="845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22" name="Google Shape;222;p17"/>
          <p:cNvSpPr/>
          <p:nvPr/>
        </p:nvSpPr>
        <p:spPr>
          <a:xfrm>
            <a:off x="740080" y="2988006"/>
            <a:ext cx="406269" cy="339529"/>
          </a:xfrm>
          <a:custGeom>
            <a:avLst/>
            <a:gdLst/>
            <a:ahLst/>
            <a:cxnLst/>
            <a:rect l="l" t="t" r="r" b="b"/>
            <a:pathLst>
              <a:path w="10452" h="8735" extrusionOk="0">
                <a:moveTo>
                  <a:pt x="4213" y="1933"/>
                </a:moveTo>
                <a:cubicBezTo>
                  <a:pt x="4371" y="1933"/>
                  <a:pt x="4466" y="2059"/>
                  <a:pt x="4466" y="2186"/>
                </a:cubicBezTo>
                <a:cubicBezTo>
                  <a:pt x="4466" y="2313"/>
                  <a:pt x="4371" y="2439"/>
                  <a:pt x="4213" y="2439"/>
                </a:cubicBezTo>
                <a:cubicBezTo>
                  <a:pt x="3769" y="2439"/>
                  <a:pt x="3389" y="2788"/>
                  <a:pt x="3389" y="3263"/>
                </a:cubicBezTo>
                <a:cubicBezTo>
                  <a:pt x="3389" y="3390"/>
                  <a:pt x="3262" y="3516"/>
                  <a:pt x="3136" y="3516"/>
                </a:cubicBezTo>
                <a:cubicBezTo>
                  <a:pt x="3009" y="3516"/>
                  <a:pt x="2882" y="3390"/>
                  <a:pt x="2882" y="3263"/>
                </a:cubicBezTo>
                <a:cubicBezTo>
                  <a:pt x="2914" y="2535"/>
                  <a:pt x="3484" y="1933"/>
                  <a:pt x="4213" y="1933"/>
                </a:cubicBezTo>
                <a:close/>
                <a:moveTo>
                  <a:pt x="7020" y="3147"/>
                </a:moveTo>
                <a:cubicBezTo>
                  <a:pt x="7073" y="3147"/>
                  <a:pt x="7121" y="3162"/>
                  <a:pt x="7158" y="3200"/>
                </a:cubicBezTo>
                <a:cubicBezTo>
                  <a:pt x="7221" y="3263"/>
                  <a:pt x="7253" y="3358"/>
                  <a:pt x="7221" y="3421"/>
                </a:cubicBezTo>
                <a:cubicBezTo>
                  <a:pt x="7094" y="4150"/>
                  <a:pt x="6493" y="4720"/>
                  <a:pt x="5764" y="4846"/>
                </a:cubicBezTo>
                <a:cubicBezTo>
                  <a:pt x="5543" y="5416"/>
                  <a:pt x="5004" y="5796"/>
                  <a:pt x="4403" y="5796"/>
                </a:cubicBezTo>
                <a:cubicBezTo>
                  <a:pt x="4244" y="5796"/>
                  <a:pt x="4149" y="5670"/>
                  <a:pt x="4149" y="5543"/>
                </a:cubicBezTo>
                <a:cubicBezTo>
                  <a:pt x="4149" y="5416"/>
                  <a:pt x="4276" y="5290"/>
                  <a:pt x="4403" y="5290"/>
                </a:cubicBezTo>
                <a:cubicBezTo>
                  <a:pt x="4751" y="5290"/>
                  <a:pt x="5068" y="5131"/>
                  <a:pt x="5226" y="4815"/>
                </a:cubicBezTo>
                <a:cubicBezTo>
                  <a:pt x="4846" y="4751"/>
                  <a:pt x="4466" y="4561"/>
                  <a:pt x="4213" y="4276"/>
                </a:cubicBezTo>
                <a:cubicBezTo>
                  <a:pt x="4118" y="4181"/>
                  <a:pt x="4118" y="4023"/>
                  <a:pt x="4213" y="3928"/>
                </a:cubicBezTo>
                <a:cubicBezTo>
                  <a:pt x="4271" y="3884"/>
                  <a:pt x="4330" y="3860"/>
                  <a:pt x="4386" y="3860"/>
                </a:cubicBezTo>
                <a:cubicBezTo>
                  <a:pt x="4450" y="3860"/>
                  <a:pt x="4510" y="3892"/>
                  <a:pt x="4561" y="3960"/>
                </a:cubicBezTo>
                <a:cubicBezTo>
                  <a:pt x="4814" y="4213"/>
                  <a:pt x="5163" y="4371"/>
                  <a:pt x="5511" y="4371"/>
                </a:cubicBezTo>
                <a:cubicBezTo>
                  <a:pt x="6113" y="4371"/>
                  <a:pt x="6651" y="3928"/>
                  <a:pt x="6746" y="3326"/>
                </a:cubicBezTo>
                <a:cubicBezTo>
                  <a:pt x="6778" y="3263"/>
                  <a:pt x="6841" y="3168"/>
                  <a:pt x="6904" y="3168"/>
                </a:cubicBezTo>
                <a:cubicBezTo>
                  <a:pt x="6944" y="3155"/>
                  <a:pt x="6983" y="3147"/>
                  <a:pt x="7020" y="3147"/>
                </a:cubicBezTo>
                <a:close/>
                <a:moveTo>
                  <a:pt x="6113" y="1"/>
                </a:moveTo>
                <a:cubicBezTo>
                  <a:pt x="5994" y="1"/>
                  <a:pt x="5875" y="33"/>
                  <a:pt x="5764" y="96"/>
                </a:cubicBezTo>
                <a:cubicBezTo>
                  <a:pt x="5543" y="223"/>
                  <a:pt x="5416" y="444"/>
                  <a:pt x="5416" y="698"/>
                </a:cubicBezTo>
                <a:cubicBezTo>
                  <a:pt x="5416" y="856"/>
                  <a:pt x="5321" y="951"/>
                  <a:pt x="5163" y="951"/>
                </a:cubicBezTo>
                <a:cubicBezTo>
                  <a:pt x="5036" y="951"/>
                  <a:pt x="4941" y="856"/>
                  <a:pt x="4941" y="698"/>
                </a:cubicBezTo>
                <a:cubicBezTo>
                  <a:pt x="4941" y="571"/>
                  <a:pt x="4973" y="413"/>
                  <a:pt x="5004" y="286"/>
                </a:cubicBezTo>
                <a:cubicBezTo>
                  <a:pt x="4751" y="128"/>
                  <a:pt x="4466" y="33"/>
                  <a:pt x="4149" y="33"/>
                </a:cubicBezTo>
                <a:cubicBezTo>
                  <a:pt x="3452" y="33"/>
                  <a:pt x="2851" y="476"/>
                  <a:pt x="2661" y="1173"/>
                </a:cubicBezTo>
                <a:cubicBezTo>
                  <a:pt x="2635" y="1278"/>
                  <a:pt x="2543" y="1339"/>
                  <a:pt x="2440" y="1339"/>
                </a:cubicBezTo>
                <a:cubicBezTo>
                  <a:pt x="2419" y="1339"/>
                  <a:pt x="2397" y="1337"/>
                  <a:pt x="2376" y="1331"/>
                </a:cubicBezTo>
                <a:cubicBezTo>
                  <a:pt x="2249" y="1299"/>
                  <a:pt x="2186" y="1173"/>
                  <a:pt x="2186" y="1046"/>
                </a:cubicBezTo>
                <a:cubicBezTo>
                  <a:pt x="2217" y="951"/>
                  <a:pt x="2249" y="856"/>
                  <a:pt x="2281" y="793"/>
                </a:cubicBezTo>
                <a:cubicBezTo>
                  <a:pt x="2217" y="761"/>
                  <a:pt x="2154" y="761"/>
                  <a:pt x="2091" y="761"/>
                </a:cubicBezTo>
                <a:cubicBezTo>
                  <a:pt x="1616" y="761"/>
                  <a:pt x="1204" y="1109"/>
                  <a:pt x="1141" y="1584"/>
                </a:cubicBezTo>
                <a:cubicBezTo>
                  <a:pt x="1489" y="1616"/>
                  <a:pt x="1806" y="1774"/>
                  <a:pt x="1996" y="2059"/>
                </a:cubicBezTo>
                <a:cubicBezTo>
                  <a:pt x="2091" y="2186"/>
                  <a:pt x="2059" y="2313"/>
                  <a:pt x="1964" y="2408"/>
                </a:cubicBezTo>
                <a:cubicBezTo>
                  <a:pt x="1925" y="2434"/>
                  <a:pt x="1874" y="2449"/>
                  <a:pt x="1822" y="2449"/>
                </a:cubicBezTo>
                <a:cubicBezTo>
                  <a:pt x="1749" y="2449"/>
                  <a:pt x="1671" y="2419"/>
                  <a:pt x="1616" y="2344"/>
                </a:cubicBezTo>
                <a:cubicBezTo>
                  <a:pt x="1502" y="2203"/>
                  <a:pt x="1338" y="2086"/>
                  <a:pt x="1146" y="2086"/>
                </a:cubicBezTo>
                <a:cubicBezTo>
                  <a:pt x="1123" y="2086"/>
                  <a:pt x="1100" y="2088"/>
                  <a:pt x="1077" y="2091"/>
                </a:cubicBezTo>
                <a:cubicBezTo>
                  <a:pt x="761" y="2091"/>
                  <a:pt x="476" y="2281"/>
                  <a:pt x="412" y="2598"/>
                </a:cubicBezTo>
                <a:cubicBezTo>
                  <a:pt x="317" y="2883"/>
                  <a:pt x="444" y="3200"/>
                  <a:pt x="729" y="3358"/>
                </a:cubicBezTo>
                <a:cubicBezTo>
                  <a:pt x="824" y="3421"/>
                  <a:pt x="856" y="3580"/>
                  <a:pt x="792" y="3706"/>
                </a:cubicBezTo>
                <a:cubicBezTo>
                  <a:pt x="751" y="3768"/>
                  <a:pt x="671" y="3803"/>
                  <a:pt x="593" y="3803"/>
                </a:cubicBezTo>
                <a:cubicBezTo>
                  <a:pt x="551" y="3803"/>
                  <a:pt x="509" y="3792"/>
                  <a:pt x="476" y="3770"/>
                </a:cubicBezTo>
                <a:cubicBezTo>
                  <a:pt x="381" y="3706"/>
                  <a:pt x="286" y="3643"/>
                  <a:pt x="191" y="3548"/>
                </a:cubicBezTo>
                <a:cubicBezTo>
                  <a:pt x="64" y="3801"/>
                  <a:pt x="1" y="4086"/>
                  <a:pt x="1" y="4371"/>
                </a:cubicBezTo>
                <a:cubicBezTo>
                  <a:pt x="1" y="5416"/>
                  <a:pt x="856" y="6271"/>
                  <a:pt x="1932" y="6271"/>
                </a:cubicBezTo>
                <a:cubicBezTo>
                  <a:pt x="2059" y="6271"/>
                  <a:pt x="2217" y="6240"/>
                  <a:pt x="2376" y="6208"/>
                </a:cubicBezTo>
                <a:cubicBezTo>
                  <a:pt x="2344" y="6081"/>
                  <a:pt x="2344" y="5986"/>
                  <a:pt x="2344" y="5860"/>
                </a:cubicBezTo>
                <a:cubicBezTo>
                  <a:pt x="2344" y="5828"/>
                  <a:pt x="2344" y="5828"/>
                  <a:pt x="2344" y="5796"/>
                </a:cubicBezTo>
                <a:cubicBezTo>
                  <a:pt x="1806" y="5796"/>
                  <a:pt x="1394" y="5353"/>
                  <a:pt x="1394" y="4815"/>
                </a:cubicBezTo>
                <a:cubicBezTo>
                  <a:pt x="1394" y="4688"/>
                  <a:pt x="1521" y="4593"/>
                  <a:pt x="1647" y="4593"/>
                </a:cubicBezTo>
                <a:cubicBezTo>
                  <a:pt x="1711" y="4593"/>
                  <a:pt x="1774" y="4593"/>
                  <a:pt x="1806" y="4656"/>
                </a:cubicBezTo>
                <a:cubicBezTo>
                  <a:pt x="1869" y="4688"/>
                  <a:pt x="1869" y="4751"/>
                  <a:pt x="1869" y="4815"/>
                </a:cubicBezTo>
                <a:cubicBezTo>
                  <a:pt x="1869" y="4973"/>
                  <a:pt x="1932" y="5100"/>
                  <a:pt x="2027" y="5195"/>
                </a:cubicBezTo>
                <a:cubicBezTo>
                  <a:pt x="2106" y="5273"/>
                  <a:pt x="2227" y="5330"/>
                  <a:pt x="2338" y="5330"/>
                </a:cubicBezTo>
                <a:cubicBezTo>
                  <a:pt x="2362" y="5330"/>
                  <a:pt x="2385" y="5327"/>
                  <a:pt x="2407" y="5321"/>
                </a:cubicBezTo>
                <a:cubicBezTo>
                  <a:pt x="2439" y="5195"/>
                  <a:pt x="2502" y="5036"/>
                  <a:pt x="2597" y="4910"/>
                </a:cubicBezTo>
                <a:cubicBezTo>
                  <a:pt x="2629" y="4846"/>
                  <a:pt x="2724" y="4783"/>
                  <a:pt x="2787" y="4783"/>
                </a:cubicBezTo>
                <a:cubicBezTo>
                  <a:pt x="2882" y="4783"/>
                  <a:pt x="2977" y="4846"/>
                  <a:pt x="3009" y="4910"/>
                </a:cubicBezTo>
                <a:cubicBezTo>
                  <a:pt x="3041" y="5005"/>
                  <a:pt x="3041" y="5100"/>
                  <a:pt x="3009" y="5163"/>
                </a:cubicBezTo>
                <a:cubicBezTo>
                  <a:pt x="2787" y="5511"/>
                  <a:pt x="2756" y="5923"/>
                  <a:pt x="2882" y="6303"/>
                </a:cubicBezTo>
                <a:cubicBezTo>
                  <a:pt x="3041" y="6746"/>
                  <a:pt x="3421" y="7095"/>
                  <a:pt x="3896" y="7190"/>
                </a:cubicBezTo>
                <a:cubicBezTo>
                  <a:pt x="3964" y="7199"/>
                  <a:pt x="4033" y="7203"/>
                  <a:pt x="4101" y="7203"/>
                </a:cubicBezTo>
                <a:cubicBezTo>
                  <a:pt x="4505" y="7203"/>
                  <a:pt x="4892" y="7045"/>
                  <a:pt x="5163" y="6746"/>
                </a:cubicBezTo>
                <a:cubicBezTo>
                  <a:pt x="5258" y="6651"/>
                  <a:pt x="5353" y="6651"/>
                  <a:pt x="5448" y="6651"/>
                </a:cubicBezTo>
                <a:cubicBezTo>
                  <a:pt x="5693" y="6774"/>
                  <a:pt x="5958" y="6821"/>
                  <a:pt x="6227" y="6821"/>
                </a:cubicBezTo>
                <a:cubicBezTo>
                  <a:pt x="6304" y="6821"/>
                  <a:pt x="6383" y="6817"/>
                  <a:pt x="6461" y="6810"/>
                </a:cubicBezTo>
                <a:cubicBezTo>
                  <a:pt x="6651" y="6810"/>
                  <a:pt x="6841" y="6778"/>
                  <a:pt x="6999" y="6715"/>
                </a:cubicBezTo>
                <a:cubicBezTo>
                  <a:pt x="7025" y="6706"/>
                  <a:pt x="7048" y="6702"/>
                  <a:pt x="7070" y="6702"/>
                </a:cubicBezTo>
                <a:cubicBezTo>
                  <a:pt x="7128" y="6702"/>
                  <a:pt x="7175" y="6732"/>
                  <a:pt x="7221" y="6778"/>
                </a:cubicBezTo>
                <a:cubicBezTo>
                  <a:pt x="7284" y="6841"/>
                  <a:pt x="7316" y="6936"/>
                  <a:pt x="7316" y="7000"/>
                </a:cubicBezTo>
                <a:cubicBezTo>
                  <a:pt x="7284" y="7095"/>
                  <a:pt x="7221" y="7158"/>
                  <a:pt x="7126" y="7190"/>
                </a:cubicBezTo>
                <a:cubicBezTo>
                  <a:pt x="6968" y="7221"/>
                  <a:pt x="6778" y="7253"/>
                  <a:pt x="6619" y="7285"/>
                </a:cubicBezTo>
                <a:cubicBezTo>
                  <a:pt x="6714" y="7570"/>
                  <a:pt x="6968" y="7792"/>
                  <a:pt x="7696" y="8013"/>
                </a:cubicBezTo>
                <a:cubicBezTo>
                  <a:pt x="8013" y="8108"/>
                  <a:pt x="8298" y="8330"/>
                  <a:pt x="8520" y="8583"/>
                </a:cubicBezTo>
                <a:cubicBezTo>
                  <a:pt x="8612" y="8676"/>
                  <a:pt x="8739" y="8735"/>
                  <a:pt x="8862" y="8735"/>
                </a:cubicBezTo>
                <a:cubicBezTo>
                  <a:pt x="8907" y="8735"/>
                  <a:pt x="8952" y="8727"/>
                  <a:pt x="8995" y="8710"/>
                </a:cubicBezTo>
                <a:cubicBezTo>
                  <a:pt x="9121" y="8647"/>
                  <a:pt x="9216" y="8488"/>
                  <a:pt x="9216" y="8362"/>
                </a:cubicBezTo>
                <a:cubicBezTo>
                  <a:pt x="9216" y="8298"/>
                  <a:pt x="9216" y="8267"/>
                  <a:pt x="9216" y="8235"/>
                </a:cubicBezTo>
                <a:cubicBezTo>
                  <a:pt x="9153" y="8045"/>
                  <a:pt x="9058" y="7855"/>
                  <a:pt x="8963" y="7665"/>
                </a:cubicBezTo>
                <a:cubicBezTo>
                  <a:pt x="8773" y="7760"/>
                  <a:pt x="8583" y="7792"/>
                  <a:pt x="8393" y="7823"/>
                </a:cubicBezTo>
                <a:lnTo>
                  <a:pt x="8330" y="7823"/>
                </a:lnTo>
                <a:cubicBezTo>
                  <a:pt x="8203" y="7823"/>
                  <a:pt x="8108" y="7728"/>
                  <a:pt x="8108" y="7602"/>
                </a:cubicBezTo>
                <a:cubicBezTo>
                  <a:pt x="8108" y="7475"/>
                  <a:pt x="8171" y="7380"/>
                  <a:pt x="8298" y="7348"/>
                </a:cubicBezTo>
                <a:cubicBezTo>
                  <a:pt x="8868" y="7253"/>
                  <a:pt x="9375" y="6936"/>
                  <a:pt x="9691" y="6430"/>
                </a:cubicBezTo>
                <a:lnTo>
                  <a:pt x="9691" y="6430"/>
                </a:lnTo>
                <a:cubicBezTo>
                  <a:pt x="9467" y="6514"/>
                  <a:pt x="9237" y="6555"/>
                  <a:pt x="9008" y="6555"/>
                </a:cubicBezTo>
                <a:cubicBezTo>
                  <a:pt x="8720" y="6555"/>
                  <a:pt x="8436" y="6490"/>
                  <a:pt x="8171" y="6366"/>
                </a:cubicBezTo>
                <a:cubicBezTo>
                  <a:pt x="8045" y="6271"/>
                  <a:pt x="7918" y="6208"/>
                  <a:pt x="7791" y="6113"/>
                </a:cubicBezTo>
                <a:cubicBezTo>
                  <a:pt x="7668" y="6162"/>
                  <a:pt x="7541" y="6186"/>
                  <a:pt x="7416" y="6186"/>
                </a:cubicBezTo>
                <a:cubicBezTo>
                  <a:pt x="7057" y="6186"/>
                  <a:pt x="6712" y="5990"/>
                  <a:pt x="6524" y="5638"/>
                </a:cubicBezTo>
                <a:cubicBezTo>
                  <a:pt x="6461" y="5511"/>
                  <a:pt x="6524" y="5385"/>
                  <a:pt x="6651" y="5321"/>
                </a:cubicBezTo>
                <a:cubicBezTo>
                  <a:pt x="6683" y="5300"/>
                  <a:pt x="6721" y="5290"/>
                  <a:pt x="6761" y="5290"/>
                </a:cubicBezTo>
                <a:cubicBezTo>
                  <a:pt x="6841" y="5290"/>
                  <a:pt x="6926" y="5332"/>
                  <a:pt x="6968" y="5416"/>
                </a:cubicBezTo>
                <a:cubicBezTo>
                  <a:pt x="7031" y="5543"/>
                  <a:pt x="7158" y="5638"/>
                  <a:pt x="7284" y="5670"/>
                </a:cubicBezTo>
                <a:cubicBezTo>
                  <a:pt x="7342" y="5681"/>
                  <a:pt x="7396" y="5689"/>
                  <a:pt x="7447" y="5689"/>
                </a:cubicBezTo>
                <a:cubicBezTo>
                  <a:pt x="7536" y="5689"/>
                  <a:pt x="7616" y="5667"/>
                  <a:pt x="7696" y="5606"/>
                </a:cubicBezTo>
                <a:cubicBezTo>
                  <a:pt x="7918" y="5480"/>
                  <a:pt x="7981" y="5195"/>
                  <a:pt x="7855" y="4973"/>
                </a:cubicBezTo>
                <a:cubicBezTo>
                  <a:pt x="7823" y="4846"/>
                  <a:pt x="7855" y="4720"/>
                  <a:pt x="7981" y="4656"/>
                </a:cubicBezTo>
                <a:cubicBezTo>
                  <a:pt x="8023" y="4635"/>
                  <a:pt x="8066" y="4625"/>
                  <a:pt x="8106" y="4625"/>
                </a:cubicBezTo>
                <a:cubicBezTo>
                  <a:pt x="8185" y="4625"/>
                  <a:pt x="8256" y="4667"/>
                  <a:pt x="8298" y="4751"/>
                </a:cubicBezTo>
                <a:cubicBezTo>
                  <a:pt x="8456" y="5100"/>
                  <a:pt x="8425" y="5511"/>
                  <a:pt x="8203" y="5796"/>
                </a:cubicBezTo>
                <a:cubicBezTo>
                  <a:pt x="8266" y="5860"/>
                  <a:pt x="8330" y="5891"/>
                  <a:pt x="8393" y="5923"/>
                </a:cubicBezTo>
                <a:cubicBezTo>
                  <a:pt x="8587" y="6026"/>
                  <a:pt x="8798" y="6075"/>
                  <a:pt x="9008" y="6075"/>
                </a:cubicBezTo>
                <a:cubicBezTo>
                  <a:pt x="9379" y="6075"/>
                  <a:pt x="9745" y="5921"/>
                  <a:pt x="10008" y="5638"/>
                </a:cubicBezTo>
                <a:cubicBezTo>
                  <a:pt x="10356" y="5258"/>
                  <a:pt x="10451" y="4688"/>
                  <a:pt x="10230" y="4213"/>
                </a:cubicBezTo>
                <a:lnTo>
                  <a:pt x="10230" y="4213"/>
                </a:lnTo>
                <a:cubicBezTo>
                  <a:pt x="10166" y="4276"/>
                  <a:pt x="10071" y="4340"/>
                  <a:pt x="9976" y="4403"/>
                </a:cubicBezTo>
                <a:cubicBezTo>
                  <a:pt x="9946" y="4410"/>
                  <a:pt x="9915" y="4414"/>
                  <a:pt x="9883" y="4414"/>
                </a:cubicBezTo>
                <a:cubicBezTo>
                  <a:pt x="9782" y="4414"/>
                  <a:pt x="9684" y="4373"/>
                  <a:pt x="9660" y="4276"/>
                </a:cubicBezTo>
                <a:cubicBezTo>
                  <a:pt x="9596" y="4150"/>
                  <a:pt x="9628" y="4023"/>
                  <a:pt x="9755" y="3960"/>
                </a:cubicBezTo>
                <a:cubicBezTo>
                  <a:pt x="9881" y="3896"/>
                  <a:pt x="10008" y="3801"/>
                  <a:pt x="10071" y="3675"/>
                </a:cubicBezTo>
                <a:cubicBezTo>
                  <a:pt x="10230" y="3390"/>
                  <a:pt x="10166" y="3010"/>
                  <a:pt x="9945" y="2820"/>
                </a:cubicBezTo>
                <a:cubicBezTo>
                  <a:pt x="9803" y="2696"/>
                  <a:pt x="9623" y="2631"/>
                  <a:pt x="9447" y="2631"/>
                </a:cubicBezTo>
                <a:cubicBezTo>
                  <a:pt x="9307" y="2631"/>
                  <a:pt x="9170" y="2672"/>
                  <a:pt x="9058" y="2756"/>
                </a:cubicBezTo>
                <a:cubicBezTo>
                  <a:pt x="9018" y="2796"/>
                  <a:pt x="8967" y="2814"/>
                  <a:pt x="8915" y="2814"/>
                </a:cubicBezTo>
                <a:cubicBezTo>
                  <a:pt x="8841" y="2814"/>
                  <a:pt x="8765" y="2780"/>
                  <a:pt x="8710" y="2725"/>
                </a:cubicBezTo>
                <a:cubicBezTo>
                  <a:pt x="8646" y="2630"/>
                  <a:pt x="8646" y="2471"/>
                  <a:pt x="8773" y="2376"/>
                </a:cubicBezTo>
                <a:cubicBezTo>
                  <a:pt x="8900" y="2281"/>
                  <a:pt x="9026" y="2218"/>
                  <a:pt x="9185" y="2186"/>
                </a:cubicBezTo>
                <a:cubicBezTo>
                  <a:pt x="8995" y="1268"/>
                  <a:pt x="8203" y="603"/>
                  <a:pt x="7284" y="571"/>
                </a:cubicBezTo>
                <a:cubicBezTo>
                  <a:pt x="7284" y="634"/>
                  <a:pt x="7284" y="666"/>
                  <a:pt x="7284" y="698"/>
                </a:cubicBezTo>
                <a:cubicBezTo>
                  <a:pt x="7284" y="856"/>
                  <a:pt x="7189" y="951"/>
                  <a:pt x="7031" y="951"/>
                </a:cubicBezTo>
                <a:cubicBezTo>
                  <a:pt x="6904" y="951"/>
                  <a:pt x="6809" y="856"/>
                  <a:pt x="6809" y="698"/>
                </a:cubicBezTo>
                <a:cubicBezTo>
                  <a:pt x="6809" y="444"/>
                  <a:pt x="6683" y="223"/>
                  <a:pt x="6461" y="96"/>
                </a:cubicBezTo>
                <a:cubicBezTo>
                  <a:pt x="6350" y="33"/>
                  <a:pt x="6231" y="1"/>
                  <a:pt x="611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24" name="Google Shape;224;p17"/>
          <p:cNvSpPr/>
          <p:nvPr/>
        </p:nvSpPr>
        <p:spPr>
          <a:xfrm>
            <a:off x="10948405" y="2852622"/>
            <a:ext cx="610609" cy="610609"/>
          </a:xfrm>
          <a:custGeom>
            <a:avLst/>
            <a:gdLst/>
            <a:ahLst/>
            <a:cxnLst/>
            <a:rect l="l" t="t" r="r" b="b"/>
            <a:pathLst>
              <a:path w="15709" h="15709" extrusionOk="0">
                <a:moveTo>
                  <a:pt x="7855" y="0"/>
                </a:moveTo>
                <a:cubicBezTo>
                  <a:pt x="3516" y="0"/>
                  <a:pt x="1" y="3516"/>
                  <a:pt x="1" y="7854"/>
                </a:cubicBezTo>
                <a:cubicBezTo>
                  <a:pt x="1" y="12193"/>
                  <a:pt x="3516" y="15708"/>
                  <a:pt x="7855" y="15708"/>
                </a:cubicBezTo>
                <a:cubicBezTo>
                  <a:pt x="12193" y="15708"/>
                  <a:pt x="15709" y="12193"/>
                  <a:pt x="15709" y="7854"/>
                </a:cubicBezTo>
                <a:cubicBezTo>
                  <a:pt x="15709" y="3516"/>
                  <a:pt x="12193" y="0"/>
                  <a:pt x="7855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25" name="Google Shape;225;p17"/>
          <p:cNvSpPr/>
          <p:nvPr/>
        </p:nvSpPr>
        <p:spPr>
          <a:xfrm>
            <a:off x="10925044" y="2829222"/>
            <a:ext cx="657369" cy="657369"/>
          </a:xfrm>
          <a:custGeom>
            <a:avLst/>
            <a:gdLst/>
            <a:ahLst/>
            <a:cxnLst/>
            <a:rect l="l" t="t" r="r" b="b"/>
            <a:pathLst>
              <a:path w="16912" h="16912" extrusionOk="0">
                <a:moveTo>
                  <a:pt x="8456" y="1172"/>
                </a:moveTo>
                <a:cubicBezTo>
                  <a:pt x="12446" y="1172"/>
                  <a:pt x="15708" y="4434"/>
                  <a:pt x="15708" y="8456"/>
                </a:cubicBezTo>
                <a:cubicBezTo>
                  <a:pt x="15708" y="12447"/>
                  <a:pt x="12446" y="15708"/>
                  <a:pt x="8456" y="15708"/>
                </a:cubicBezTo>
                <a:cubicBezTo>
                  <a:pt x="4434" y="15708"/>
                  <a:pt x="1172" y="12447"/>
                  <a:pt x="1172" y="8456"/>
                </a:cubicBezTo>
                <a:cubicBezTo>
                  <a:pt x="1172" y="4434"/>
                  <a:pt x="4434" y="1172"/>
                  <a:pt x="8456" y="1172"/>
                </a:cubicBezTo>
                <a:close/>
                <a:moveTo>
                  <a:pt x="8456" y="1"/>
                </a:moveTo>
                <a:cubicBezTo>
                  <a:pt x="3800" y="1"/>
                  <a:pt x="0" y="3801"/>
                  <a:pt x="0" y="8456"/>
                </a:cubicBezTo>
                <a:cubicBezTo>
                  <a:pt x="0" y="13112"/>
                  <a:pt x="3800" y="16912"/>
                  <a:pt x="8456" y="16912"/>
                </a:cubicBezTo>
                <a:cubicBezTo>
                  <a:pt x="13111" y="16912"/>
                  <a:pt x="16911" y="13112"/>
                  <a:pt x="16911" y="8456"/>
                </a:cubicBezTo>
                <a:cubicBezTo>
                  <a:pt x="16911" y="3801"/>
                  <a:pt x="13111" y="1"/>
                  <a:pt x="845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26" name="Google Shape;226;p17"/>
          <p:cNvSpPr/>
          <p:nvPr/>
        </p:nvSpPr>
        <p:spPr>
          <a:xfrm>
            <a:off x="11083825" y="2988006"/>
            <a:ext cx="339763" cy="339801"/>
          </a:xfrm>
          <a:custGeom>
            <a:avLst/>
            <a:gdLst/>
            <a:ahLst/>
            <a:cxnLst/>
            <a:rect l="l" t="t" r="r" b="b"/>
            <a:pathLst>
              <a:path w="8741" h="8742" extrusionOk="0">
                <a:moveTo>
                  <a:pt x="4371" y="2471"/>
                </a:moveTo>
                <a:cubicBezTo>
                  <a:pt x="5416" y="2471"/>
                  <a:pt x="6271" y="3326"/>
                  <a:pt x="6271" y="4371"/>
                </a:cubicBezTo>
                <a:cubicBezTo>
                  <a:pt x="6271" y="5416"/>
                  <a:pt x="5416" y="6271"/>
                  <a:pt x="4371" y="6271"/>
                </a:cubicBezTo>
                <a:cubicBezTo>
                  <a:pt x="3326" y="6271"/>
                  <a:pt x="2471" y="5416"/>
                  <a:pt x="2471" y="4371"/>
                </a:cubicBezTo>
                <a:cubicBezTo>
                  <a:pt x="2471" y="3326"/>
                  <a:pt x="3326" y="2471"/>
                  <a:pt x="4371" y="2471"/>
                </a:cubicBezTo>
                <a:close/>
                <a:moveTo>
                  <a:pt x="4086" y="1"/>
                </a:moveTo>
                <a:cubicBezTo>
                  <a:pt x="3642" y="1"/>
                  <a:pt x="3294" y="349"/>
                  <a:pt x="3294" y="793"/>
                </a:cubicBezTo>
                <a:lnTo>
                  <a:pt x="3294" y="983"/>
                </a:lnTo>
                <a:cubicBezTo>
                  <a:pt x="3104" y="1046"/>
                  <a:pt x="2914" y="1141"/>
                  <a:pt x="2756" y="1204"/>
                </a:cubicBezTo>
                <a:lnTo>
                  <a:pt x="2629" y="1078"/>
                </a:lnTo>
                <a:cubicBezTo>
                  <a:pt x="2475" y="924"/>
                  <a:pt x="2268" y="852"/>
                  <a:pt x="2063" y="852"/>
                </a:cubicBezTo>
                <a:cubicBezTo>
                  <a:pt x="1848" y="852"/>
                  <a:pt x="1635" y="931"/>
                  <a:pt x="1489" y="1078"/>
                </a:cubicBezTo>
                <a:lnTo>
                  <a:pt x="1077" y="1489"/>
                </a:lnTo>
                <a:cubicBezTo>
                  <a:pt x="792" y="1774"/>
                  <a:pt x="760" y="2281"/>
                  <a:pt x="1077" y="2598"/>
                </a:cubicBezTo>
                <a:lnTo>
                  <a:pt x="1235" y="2756"/>
                </a:lnTo>
                <a:cubicBezTo>
                  <a:pt x="1140" y="2915"/>
                  <a:pt x="1045" y="3105"/>
                  <a:pt x="982" y="3295"/>
                </a:cubicBezTo>
                <a:lnTo>
                  <a:pt x="792" y="3295"/>
                </a:lnTo>
                <a:cubicBezTo>
                  <a:pt x="349" y="3295"/>
                  <a:pt x="0" y="3643"/>
                  <a:pt x="0" y="4086"/>
                </a:cubicBezTo>
                <a:lnTo>
                  <a:pt x="0" y="4625"/>
                </a:lnTo>
                <a:cubicBezTo>
                  <a:pt x="0" y="5068"/>
                  <a:pt x="349" y="5448"/>
                  <a:pt x="792" y="5448"/>
                </a:cubicBezTo>
                <a:lnTo>
                  <a:pt x="982" y="5448"/>
                </a:lnTo>
                <a:cubicBezTo>
                  <a:pt x="1045" y="5638"/>
                  <a:pt x="1140" y="5828"/>
                  <a:pt x="1235" y="5986"/>
                </a:cubicBezTo>
                <a:lnTo>
                  <a:pt x="1077" y="6113"/>
                </a:lnTo>
                <a:cubicBezTo>
                  <a:pt x="760" y="6430"/>
                  <a:pt x="792" y="6936"/>
                  <a:pt x="1077" y="7253"/>
                </a:cubicBezTo>
                <a:lnTo>
                  <a:pt x="1489" y="7633"/>
                </a:lnTo>
                <a:cubicBezTo>
                  <a:pt x="1631" y="7792"/>
                  <a:pt x="1837" y="7871"/>
                  <a:pt x="2047" y="7871"/>
                </a:cubicBezTo>
                <a:cubicBezTo>
                  <a:pt x="2257" y="7871"/>
                  <a:pt x="2471" y="7792"/>
                  <a:pt x="2629" y="7633"/>
                </a:cubicBezTo>
                <a:lnTo>
                  <a:pt x="2756" y="7507"/>
                </a:lnTo>
                <a:cubicBezTo>
                  <a:pt x="2914" y="7602"/>
                  <a:pt x="3104" y="7665"/>
                  <a:pt x="3294" y="7728"/>
                </a:cubicBezTo>
                <a:lnTo>
                  <a:pt x="3294" y="7918"/>
                </a:lnTo>
                <a:cubicBezTo>
                  <a:pt x="3294" y="8362"/>
                  <a:pt x="3642" y="8742"/>
                  <a:pt x="4086" y="8742"/>
                </a:cubicBezTo>
                <a:lnTo>
                  <a:pt x="4656" y="8742"/>
                </a:lnTo>
                <a:cubicBezTo>
                  <a:pt x="5099" y="8742"/>
                  <a:pt x="5447" y="8362"/>
                  <a:pt x="5447" y="7918"/>
                </a:cubicBezTo>
                <a:lnTo>
                  <a:pt x="5447" y="7728"/>
                </a:lnTo>
                <a:cubicBezTo>
                  <a:pt x="5637" y="7665"/>
                  <a:pt x="5827" y="7602"/>
                  <a:pt x="5986" y="7507"/>
                </a:cubicBezTo>
                <a:lnTo>
                  <a:pt x="6112" y="7633"/>
                </a:lnTo>
                <a:cubicBezTo>
                  <a:pt x="6271" y="7792"/>
                  <a:pt x="6477" y="7871"/>
                  <a:pt x="6682" y="7871"/>
                </a:cubicBezTo>
                <a:cubicBezTo>
                  <a:pt x="6888" y="7871"/>
                  <a:pt x="7094" y="7792"/>
                  <a:pt x="7253" y="7633"/>
                </a:cubicBezTo>
                <a:lnTo>
                  <a:pt x="7633" y="7253"/>
                </a:lnTo>
                <a:cubicBezTo>
                  <a:pt x="7949" y="6936"/>
                  <a:pt x="7949" y="6430"/>
                  <a:pt x="7633" y="6113"/>
                </a:cubicBezTo>
                <a:lnTo>
                  <a:pt x="7506" y="5986"/>
                </a:lnTo>
                <a:cubicBezTo>
                  <a:pt x="7601" y="5828"/>
                  <a:pt x="7664" y="5638"/>
                  <a:pt x="7728" y="5448"/>
                </a:cubicBezTo>
                <a:lnTo>
                  <a:pt x="7918" y="5448"/>
                </a:lnTo>
                <a:cubicBezTo>
                  <a:pt x="8361" y="5448"/>
                  <a:pt x="8741" y="5068"/>
                  <a:pt x="8741" y="4625"/>
                </a:cubicBezTo>
                <a:lnTo>
                  <a:pt x="8741" y="4086"/>
                </a:lnTo>
                <a:cubicBezTo>
                  <a:pt x="8741" y="3643"/>
                  <a:pt x="8361" y="3295"/>
                  <a:pt x="7918" y="3295"/>
                </a:cubicBezTo>
                <a:lnTo>
                  <a:pt x="7728" y="3295"/>
                </a:lnTo>
                <a:cubicBezTo>
                  <a:pt x="7696" y="3105"/>
                  <a:pt x="7601" y="2915"/>
                  <a:pt x="7506" y="2756"/>
                </a:cubicBezTo>
                <a:lnTo>
                  <a:pt x="7633" y="2598"/>
                </a:lnTo>
                <a:cubicBezTo>
                  <a:pt x="7949" y="2281"/>
                  <a:pt x="7949" y="1774"/>
                  <a:pt x="7633" y="1489"/>
                </a:cubicBezTo>
                <a:lnTo>
                  <a:pt x="7253" y="1078"/>
                </a:lnTo>
                <a:cubicBezTo>
                  <a:pt x="7090" y="931"/>
                  <a:pt x="6878" y="852"/>
                  <a:pt x="6666" y="852"/>
                </a:cubicBezTo>
                <a:cubicBezTo>
                  <a:pt x="6466" y="852"/>
                  <a:pt x="6267" y="924"/>
                  <a:pt x="6112" y="1078"/>
                </a:cubicBezTo>
                <a:lnTo>
                  <a:pt x="5986" y="1204"/>
                </a:lnTo>
                <a:cubicBezTo>
                  <a:pt x="5827" y="1141"/>
                  <a:pt x="5637" y="1046"/>
                  <a:pt x="5447" y="983"/>
                </a:cubicBezTo>
                <a:lnTo>
                  <a:pt x="5447" y="793"/>
                </a:lnTo>
                <a:cubicBezTo>
                  <a:pt x="5447" y="349"/>
                  <a:pt x="5099" y="1"/>
                  <a:pt x="465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28" name="Google Shape;228;p17"/>
          <p:cNvSpPr/>
          <p:nvPr/>
        </p:nvSpPr>
        <p:spPr>
          <a:xfrm>
            <a:off x="10948405" y="4556294"/>
            <a:ext cx="610609" cy="610569"/>
          </a:xfrm>
          <a:custGeom>
            <a:avLst/>
            <a:gdLst/>
            <a:ahLst/>
            <a:cxnLst/>
            <a:rect l="l" t="t" r="r" b="b"/>
            <a:pathLst>
              <a:path w="15709" h="15708" extrusionOk="0">
                <a:moveTo>
                  <a:pt x="7855" y="0"/>
                </a:moveTo>
                <a:cubicBezTo>
                  <a:pt x="3516" y="0"/>
                  <a:pt x="1" y="3515"/>
                  <a:pt x="1" y="7854"/>
                </a:cubicBezTo>
                <a:cubicBezTo>
                  <a:pt x="1" y="12193"/>
                  <a:pt x="3516" y="15708"/>
                  <a:pt x="7855" y="15708"/>
                </a:cubicBezTo>
                <a:cubicBezTo>
                  <a:pt x="12193" y="15708"/>
                  <a:pt x="15709" y="12193"/>
                  <a:pt x="15709" y="7854"/>
                </a:cubicBezTo>
                <a:cubicBezTo>
                  <a:pt x="15709" y="3515"/>
                  <a:pt x="12193" y="0"/>
                  <a:pt x="7855" y="0"/>
                </a:cubicBezTo>
                <a:close/>
              </a:path>
            </a:pathLst>
          </a:custGeom>
          <a:gradFill>
            <a:gsLst>
              <a:gs pos="0">
                <a:srgbClr val="960E4F"/>
              </a:gs>
              <a:gs pos="100000">
                <a:srgbClr val="721B65"/>
              </a:gs>
            </a:gsLst>
            <a:lin ang="5400700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29" name="Google Shape;229;p17"/>
          <p:cNvSpPr/>
          <p:nvPr/>
        </p:nvSpPr>
        <p:spPr>
          <a:xfrm>
            <a:off x="10925044" y="4532894"/>
            <a:ext cx="657369" cy="657369"/>
          </a:xfrm>
          <a:custGeom>
            <a:avLst/>
            <a:gdLst/>
            <a:ahLst/>
            <a:cxnLst/>
            <a:rect l="l" t="t" r="r" b="b"/>
            <a:pathLst>
              <a:path w="16912" h="16912" extrusionOk="0">
                <a:moveTo>
                  <a:pt x="8456" y="1204"/>
                </a:moveTo>
                <a:cubicBezTo>
                  <a:pt x="12446" y="1204"/>
                  <a:pt x="15708" y="4434"/>
                  <a:pt x="15708" y="8456"/>
                </a:cubicBezTo>
                <a:cubicBezTo>
                  <a:pt x="15708" y="12478"/>
                  <a:pt x="12446" y="15708"/>
                  <a:pt x="8456" y="15708"/>
                </a:cubicBezTo>
                <a:cubicBezTo>
                  <a:pt x="4434" y="15708"/>
                  <a:pt x="1172" y="12478"/>
                  <a:pt x="1172" y="8456"/>
                </a:cubicBezTo>
                <a:cubicBezTo>
                  <a:pt x="1172" y="4434"/>
                  <a:pt x="4434" y="1204"/>
                  <a:pt x="8456" y="1204"/>
                </a:cubicBezTo>
                <a:close/>
                <a:moveTo>
                  <a:pt x="8456" y="0"/>
                </a:moveTo>
                <a:cubicBezTo>
                  <a:pt x="3800" y="0"/>
                  <a:pt x="0" y="3801"/>
                  <a:pt x="0" y="8456"/>
                </a:cubicBezTo>
                <a:cubicBezTo>
                  <a:pt x="0" y="13111"/>
                  <a:pt x="3800" y="16912"/>
                  <a:pt x="8456" y="16912"/>
                </a:cubicBezTo>
                <a:cubicBezTo>
                  <a:pt x="13111" y="16912"/>
                  <a:pt x="16911" y="13111"/>
                  <a:pt x="16911" y="8456"/>
                </a:cubicBezTo>
                <a:cubicBezTo>
                  <a:pt x="16911" y="3801"/>
                  <a:pt x="13111" y="0"/>
                  <a:pt x="845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0" name="Google Shape;230;p17"/>
          <p:cNvSpPr/>
          <p:nvPr/>
        </p:nvSpPr>
        <p:spPr>
          <a:xfrm>
            <a:off x="11279538" y="4676907"/>
            <a:ext cx="158823" cy="158823"/>
          </a:xfrm>
          <a:custGeom>
            <a:avLst/>
            <a:gdLst/>
            <a:ahLst/>
            <a:cxnLst/>
            <a:rect l="l" t="t" r="r" b="b"/>
            <a:pathLst>
              <a:path w="4086" h="4086" extrusionOk="0">
                <a:moveTo>
                  <a:pt x="254" y="1"/>
                </a:moveTo>
                <a:cubicBezTo>
                  <a:pt x="127" y="1"/>
                  <a:pt x="1" y="96"/>
                  <a:pt x="1" y="254"/>
                </a:cubicBezTo>
                <a:lnTo>
                  <a:pt x="1" y="3833"/>
                </a:lnTo>
                <a:cubicBezTo>
                  <a:pt x="1" y="3991"/>
                  <a:pt x="127" y="4086"/>
                  <a:pt x="254" y="4086"/>
                </a:cubicBezTo>
                <a:lnTo>
                  <a:pt x="3833" y="4086"/>
                </a:lnTo>
                <a:cubicBezTo>
                  <a:pt x="3991" y="4086"/>
                  <a:pt x="4086" y="3991"/>
                  <a:pt x="4086" y="3833"/>
                </a:cubicBezTo>
                <a:cubicBezTo>
                  <a:pt x="4086" y="1742"/>
                  <a:pt x="2376" y="1"/>
                  <a:pt x="254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1" name="Google Shape;231;p17"/>
          <p:cNvSpPr/>
          <p:nvPr/>
        </p:nvSpPr>
        <p:spPr>
          <a:xfrm>
            <a:off x="11083827" y="4732298"/>
            <a:ext cx="210520" cy="299183"/>
          </a:xfrm>
          <a:custGeom>
            <a:avLst/>
            <a:gdLst/>
            <a:ahLst/>
            <a:cxnLst/>
            <a:rect l="l" t="t" r="r" b="b"/>
            <a:pathLst>
              <a:path w="5416" h="7697" extrusionOk="0">
                <a:moveTo>
                  <a:pt x="3864" y="1"/>
                </a:moveTo>
                <a:cubicBezTo>
                  <a:pt x="1742" y="1"/>
                  <a:pt x="0" y="1711"/>
                  <a:pt x="0" y="3833"/>
                </a:cubicBezTo>
                <a:cubicBezTo>
                  <a:pt x="0" y="5955"/>
                  <a:pt x="1742" y="7696"/>
                  <a:pt x="3864" y="7696"/>
                </a:cubicBezTo>
                <a:cubicBezTo>
                  <a:pt x="4339" y="7696"/>
                  <a:pt x="4782" y="7601"/>
                  <a:pt x="5226" y="7443"/>
                </a:cubicBezTo>
                <a:cubicBezTo>
                  <a:pt x="5352" y="7380"/>
                  <a:pt x="5416" y="7253"/>
                  <a:pt x="5352" y="7126"/>
                </a:cubicBezTo>
                <a:lnTo>
                  <a:pt x="4117" y="3801"/>
                </a:lnTo>
                <a:lnTo>
                  <a:pt x="4117" y="254"/>
                </a:lnTo>
                <a:cubicBezTo>
                  <a:pt x="4117" y="127"/>
                  <a:pt x="4022" y="1"/>
                  <a:pt x="3864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2" name="Google Shape;232;p17"/>
          <p:cNvSpPr/>
          <p:nvPr/>
        </p:nvSpPr>
        <p:spPr>
          <a:xfrm>
            <a:off x="11279538" y="4871414"/>
            <a:ext cx="158823" cy="151127"/>
          </a:xfrm>
          <a:custGeom>
            <a:avLst/>
            <a:gdLst/>
            <a:ahLst/>
            <a:cxnLst/>
            <a:rect l="l" t="t" r="r" b="b"/>
            <a:pathLst>
              <a:path w="4086" h="3888" extrusionOk="0">
                <a:moveTo>
                  <a:pt x="254" y="0"/>
                </a:moveTo>
                <a:cubicBezTo>
                  <a:pt x="159" y="0"/>
                  <a:pt x="96" y="32"/>
                  <a:pt x="32" y="95"/>
                </a:cubicBezTo>
                <a:cubicBezTo>
                  <a:pt x="1" y="190"/>
                  <a:pt x="1" y="254"/>
                  <a:pt x="32" y="349"/>
                </a:cubicBezTo>
                <a:lnTo>
                  <a:pt x="1267" y="3706"/>
                </a:lnTo>
                <a:cubicBezTo>
                  <a:pt x="1299" y="3769"/>
                  <a:pt x="1362" y="3832"/>
                  <a:pt x="1426" y="3864"/>
                </a:cubicBezTo>
                <a:cubicBezTo>
                  <a:pt x="1457" y="3880"/>
                  <a:pt x="1489" y="3888"/>
                  <a:pt x="1521" y="3888"/>
                </a:cubicBezTo>
                <a:cubicBezTo>
                  <a:pt x="1552" y="3888"/>
                  <a:pt x="1584" y="3880"/>
                  <a:pt x="1616" y="3864"/>
                </a:cubicBezTo>
                <a:cubicBezTo>
                  <a:pt x="3104" y="3294"/>
                  <a:pt x="4086" y="1837"/>
                  <a:pt x="4086" y="254"/>
                </a:cubicBezTo>
                <a:cubicBezTo>
                  <a:pt x="4086" y="127"/>
                  <a:pt x="3991" y="0"/>
                  <a:pt x="3833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4" name="Google Shape;234;p17"/>
          <p:cNvSpPr txBox="1"/>
          <p:nvPr/>
        </p:nvSpPr>
        <p:spPr>
          <a:xfrm>
            <a:off x="658001" y="4566333"/>
            <a:ext cx="551600" cy="5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800" kern="0">
                <a:solidFill>
                  <a:srgbClr val="FFFFFF"/>
                </a:solidFill>
                <a:cs typeface="+mn-ea"/>
                <a:sym typeface="+mn-lt"/>
              </a:rPr>
              <a:t>4</a:t>
            </a:r>
            <a:endParaRPr sz="2800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35" name="Google Shape;235;p17"/>
          <p:cNvSpPr/>
          <p:nvPr/>
        </p:nvSpPr>
        <p:spPr>
          <a:xfrm>
            <a:off x="632993" y="4556294"/>
            <a:ext cx="610609" cy="610569"/>
          </a:xfrm>
          <a:custGeom>
            <a:avLst/>
            <a:gdLst/>
            <a:ahLst/>
            <a:cxnLst/>
            <a:rect l="l" t="t" r="r" b="b"/>
            <a:pathLst>
              <a:path w="15709" h="15708" extrusionOk="0">
                <a:moveTo>
                  <a:pt x="7854" y="0"/>
                </a:moveTo>
                <a:cubicBezTo>
                  <a:pt x="3516" y="0"/>
                  <a:pt x="0" y="3515"/>
                  <a:pt x="0" y="7854"/>
                </a:cubicBezTo>
                <a:cubicBezTo>
                  <a:pt x="0" y="12193"/>
                  <a:pt x="3516" y="15708"/>
                  <a:pt x="7854" y="15708"/>
                </a:cubicBezTo>
                <a:cubicBezTo>
                  <a:pt x="12193" y="15708"/>
                  <a:pt x="15708" y="12193"/>
                  <a:pt x="15708" y="7854"/>
                </a:cubicBezTo>
                <a:cubicBezTo>
                  <a:pt x="15708" y="3515"/>
                  <a:pt x="12193" y="0"/>
                  <a:pt x="7854" y="0"/>
                </a:cubicBezTo>
                <a:close/>
              </a:path>
            </a:pathLst>
          </a:custGeom>
          <a:gradFill>
            <a:gsLst>
              <a:gs pos="0">
                <a:srgbClr val="5B1A5B"/>
              </a:gs>
              <a:gs pos="100000">
                <a:srgbClr val="3C0A3C"/>
              </a:gs>
            </a:gsLst>
            <a:lin ang="5400700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6" name="Google Shape;236;p17"/>
          <p:cNvSpPr/>
          <p:nvPr/>
        </p:nvSpPr>
        <p:spPr>
          <a:xfrm>
            <a:off x="609593" y="4532894"/>
            <a:ext cx="657369" cy="657369"/>
          </a:xfrm>
          <a:custGeom>
            <a:avLst/>
            <a:gdLst/>
            <a:ahLst/>
            <a:cxnLst/>
            <a:rect l="l" t="t" r="r" b="b"/>
            <a:pathLst>
              <a:path w="16912" h="16912" extrusionOk="0">
                <a:moveTo>
                  <a:pt x="8456" y="1204"/>
                </a:moveTo>
                <a:cubicBezTo>
                  <a:pt x="12447" y="1204"/>
                  <a:pt x="15709" y="4434"/>
                  <a:pt x="15709" y="8456"/>
                </a:cubicBezTo>
                <a:cubicBezTo>
                  <a:pt x="15709" y="12478"/>
                  <a:pt x="12447" y="15708"/>
                  <a:pt x="8456" y="15708"/>
                </a:cubicBezTo>
                <a:cubicBezTo>
                  <a:pt x="4434" y="15708"/>
                  <a:pt x="1172" y="12478"/>
                  <a:pt x="1172" y="8456"/>
                </a:cubicBezTo>
                <a:cubicBezTo>
                  <a:pt x="1172" y="4434"/>
                  <a:pt x="4434" y="1204"/>
                  <a:pt x="8456" y="1204"/>
                </a:cubicBezTo>
                <a:close/>
                <a:moveTo>
                  <a:pt x="8456" y="0"/>
                </a:moveTo>
                <a:cubicBezTo>
                  <a:pt x="3801" y="0"/>
                  <a:pt x="1" y="3801"/>
                  <a:pt x="1" y="8456"/>
                </a:cubicBezTo>
                <a:cubicBezTo>
                  <a:pt x="1" y="13111"/>
                  <a:pt x="3801" y="16912"/>
                  <a:pt x="8456" y="16912"/>
                </a:cubicBezTo>
                <a:cubicBezTo>
                  <a:pt x="13112" y="16912"/>
                  <a:pt x="16912" y="13111"/>
                  <a:pt x="16912" y="8456"/>
                </a:cubicBezTo>
                <a:cubicBezTo>
                  <a:pt x="16912" y="3801"/>
                  <a:pt x="13112" y="0"/>
                  <a:pt x="8456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7" name="Google Shape;237;p17"/>
          <p:cNvSpPr/>
          <p:nvPr/>
        </p:nvSpPr>
        <p:spPr>
          <a:xfrm>
            <a:off x="895170" y="4691678"/>
            <a:ext cx="85009" cy="84969"/>
          </a:xfrm>
          <a:custGeom>
            <a:avLst/>
            <a:gdLst/>
            <a:ahLst/>
            <a:cxnLst/>
            <a:rect l="l" t="t" r="r" b="b"/>
            <a:pathLst>
              <a:path w="2187" h="2186" extrusionOk="0">
                <a:moveTo>
                  <a:pt x="1109" y="1"/>
                </a:moveTo>
                <a:cubicBezTo>
                  <a:pt x="508" y="1"/>
                  <a:pt x="1" y="507"/>
                  <a:pt x="1" y="1109"/>
                </a:cubicBezTo>
                <a:cubicBezTo>
                  <a:pt x="1" y="1711"/>
                  <a:pt x="508" y="2186"/>
                  <a:pt x="1109" y="2186"/>
                </a:cubicBezTo>
                <a:cubicBezTo>
                  <a:pt x="1711" y="2186"/>
                  <a:pt x="2186" y="1711"/>
                  <a:pt x="2186" y="1109"/>
                </a:cubicBezTo>
                <a:cubicBezTo>
                  <a:pt x="2186" y="507"/>
                  <a:pt x="1711" y="1"/>
                  <a:pt x="110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8" name="Google Shape;238;p17"/>
          <p:cNvSpPr/>
          <p:nvPr/>
        </p:nvSpPr>
        <p:spPr>
          <a:xfrm>
            <a:off x="874258" y="4797559"/>
            <a:ext cx="128076" cy="233920"/>
          </a:xfrm>
          <a:custGeom>
            <a:avLst/>
            <a:gdLst/>
            <a:ahLst/>
            <a:cxnLst/>
            <a:rect l="l" t="t" r="r" b="b"/>
            <a:pathLst>
              <a:path w="3295" h="6018" extrusionOk="0">
                <a:moveTo>
                  <a:pt x="792" y="0"/>
                </a:moveTo>
                <a:cubicBezTo>
                  <a:pt x="507" y="0"/>
                  <a:pt x="286" y="222"/>
                  <a:pt x="254" y="507"/>
                </a:cubicBezTo>
                <a:lnTo>
                  <a:pt x="0" y="2439"/>
                </a:lnTo>
                <a:cubicBezTo>
                  <a:pt x="0" y="2502"/>
                  <a:pt x="32" y="2597"/>
                  <a:pt x="64" y="2629"/>
                </a:cubicBezTo>
                <a:cubicBezTo>
                  <a:pt x="127" y="2692"/>
                  <a:pt x="191" y="2724"/>
                  <a:pt x="286" y="2724"/>
                </a:cubicBezTo>
                <a:lnTo>
                  <a:pt x="571" y="2724"/>
                </a:lnTo>
                <a:lnTo>
                  <a:pt x="792" y="5511"/>
                </a:lnTo>
                <a:cubicBezTo>
                  <a:pt x="824" y="5796"/>
                  <a:pt x="1077" y="6017"/>
                  <a:pt x="1331" y="6017"/>
                </a:cubicBezTo>
                <a:lnTo>
                  <a:pt x="1932" y="6017"/>
                </a:lnTo>
                <a:cubicBezTo>
                  <a:pt x="2217" y="6017"/>
                  <a:pt x="2471" y="5796"/>
                  <a:pt x="2471" y="5511"/>
                </a:cubicBezTo>
                <a:lnTo>
                  <a:pt x="2724" y="2724"/>
                </a:lnTo>
                <a:lnTo>
                  <a:pt x="3009" y="2724"/>
                </a:lnTo>
                <a:cubicBezTo>
                  <a:pt x="3072" y="2724"/>
                  <a:pt x="3167" y="2692"/>
                  <a:pt x="3199" y="2629"/>
                </a:cubicBezTo>
                <a:cubicBezTo>
                  <a:pt x="3262" y="2597"/>
                  <a:pt x="3294" y="2502"/>
                  <a:pt x="3262" y="2439"/>
                </a:cubicBezTo>
                <a:lnTo>
                  <a:pt x="3041" y="507"/>
                </a:lnTo>
                <a:cubicBezTo>
                  <a:pt x="3009" y="222"/>
                  <a:pt x="2756" y="0"/>
                  <a:pt x="2502" y="0"/>
                </a:cubicBezTo>
                <a:lnTo>
                  <a:pt x="2186" y="0"/>
                </a:lnTo>
                <a:cubicBezTo>
                  <a:pt x="2122" y="0"/>
                  <a:pt x="2059" y="32"/>
                  <a:pt x="1996" y="95"/>
                </a:cubicBezTo>
                <a:lnTo>
                  <a:pt x="1647" y="444"/>
                </a:lnTo>
                <a:lnTo>
                  <a:pt x="1299" y="95"/>
                </a:lnTo>
                <a:cubicBezTo>
                  <a:pt x="1236" y="32"/>
                  <a:pt x="1172" y="0"/>
                  <a:pt x="110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39" name="Google Shape;239;p17"/>
          <p:cNvSpPr/>
          <p:nvPr/>
        </p:nvSpPr>
        <p:spPr>
          <a:xfrm>
            <a:off x="1001052" y="4691678"/>
            <a:ext cx="84969" cy="84969"/>
          </a:xfrm>
          <a:custGeom>
            <a:avLst/>
            <a:gdLst/>
            <a:ahLst/>
            <a:cxnLst/>
            <a:rect l="l" t="t" r="r" b="b"/>
            <a:pathLst>
              <a:path w="2186" h="2186" extrusionOk="0">
                <a:moveTo>
                  <a:pt x="1109" y="1"/>
                </a:moveTo>
                <a:cubicBezTo>
                  <a:pt x="507" y="1"/>
                  <a:pt x="0" y="507"/>
                  <a:pt x="0" y="1109"/>
                </a:cubicBezTo>
                <a:cubicBezTo>
                  <a:pt x="0" y="1711"/>
                  <a:pt x="507" y="2186"/>
                  <a:pt x="1109" y="2186"/>
                </a:cubicBezTo>
                <a:cubicBezTo>
                  <a:pt x="1711" y="2186"/>
                  <a:pt x="2186" y="1711"/>
                  <a:pt x="2186" y="1109"/>
                </a:cubicBezTo>
                <a:cubicBezTo>
                  <a:pt x="2186" y="507"/>
                  <a:pt x="1711" y="1"/>
                  <a:pt x="110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0" name="Google Shape;240;p17"/>
          <p:cNvSpPr/>
          <p:nvPr/>
        </p:nvSpPr>
        <p:spPr>
          <a:xfrm>
            <a:off x="789329" y="4691678"/>
            <a:ext cx="84969" cy="84969"/>
          </a:xfrm>
          <a:custGeom>
            <a:avLst/>
            <a:gdLst/>
            <a:ahLst/>
            <a:cxnLst/>
            <a:rect l="l" t="t" r="r" b="b"/>
            <a:pathLst>
              <a:path w="2186" h="2186" extrusionOk="0">
                <a:moveTo>
                  <a:pt x="1109" y="1"/>
                </a:moveTo>
                <a:cubicBezTo>
                  <a:pt x="507" y="1"/>
                  <a:pt x="0" y="507"/>
                  <a:pt x="0" y="1109"/>
                </a:cubicBezTo>
                <a:cubicBezTo>
                  <a:pt x="0" y="1711"/>
                  <a:pt x="507" y="2186"/>
                  <a:pt x="1109" y="2186"/>
                </a:cubicBezTo>
                <a:cubicBezTo>
                  <a:pt x="1710" y="2186"/>
                  <a:pt x="2185" y="1711"/>
                  <a:pt x="2185" y="1109"/>
                </a:cubicBezTo>
                <a:cubicBezTo>
                  <a:pt x="2185" y="507"/>
                  <a:pt x="1710" y="1"/>
                  <a:pt x="110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1" name="Google Shape;241;p17"/>
          <p:cNvSpPr/>
          <p:nvPr/>
        </p:nvSpPr>
        <p:spPr>
          <a:xfrm>
            <a:off x="1004745" y="4797561"/>
            <a:ext cx="103433" cy="212969"/>
          </a:xfrm>
          <a:custGeom>
            <a:avLst/>
            <a:gdLst/>
            <a:ahLst/>
            <a:cxnLst/>
            <a:rect l="l" t="t" r="r" b="b"/>
            <a:pathLst>
              <a:path w="2661" h="5479" extrusionOk="0">
                <a:moveTo>
                  <a:pt x="159" y="0"/>
                </a:moveTo>
                <a:cubicBezTo>
                  <a:pt x="127" y="0"/>
                  <a:pt x="95" y="32"/>
                  <a:pt x="64" y="32"/>
                </a:cubicBezTo>
                <a:cubicBezTo>
                  <a:pt x="127" y="159"/>
                  <a:pt x="190" y="285"/>
                  <a:pt x="222" y="444"/>
                </a:cubicBezTo>
                <a:lnTo>
                  <a:pt x="444" y="2375"/>
                </a:lnTo>
                <a:cubicBezTo>
                  <a:pt x="475" y="2597"/>
                  <a:pt x="412" y="2850"/>
                  <a:pt x="254" y="3009"/>
                </a:cubicBezTo>
                <a:cubicBezTo>
                  <a:pt x="190" y="3104"/>
                  <a:pt x="95" y="3167"/>
                  <a:pt x="0" y="3199"/>
                </a:cubicBezTo>
                <a:lnTo>
                  <a:pt x="159" y="4972"/>
                </a:lnTo>
                <a:cubicBezTo>
                  <a:pt x="190" y="5257"/>
                  <a:pt x="444" y="5479"/>
                  <a:pt x="697" y="5479"/>
                </a:cubicBezTo>
                <a:lnTo>
                  <a:pt x="1299" y="5479"/>
                </a:lnTo>
                <a:cubicBezTo>
                  <a:pt x="1584" y="5479"/>
                  <a:pt x="1837" y="5257"/>
                  <a:pt x="1837" y="4972"/>
                </a:cubicBezTo>
                <a:lnTo>
                  <a:pt x="2091" y="2755"/>
                </a:lnTo>
                <a:lnTo>
                  <a:pt x="2376" y="2755"/>
                </a:lnTo>
                <a:cubicBezTo>
                  <a:pt x="2439" y="2755"/>
                  <a:pt x="2534" y="2692"/>
                  <a:pt x="2566" y="2660"/>
                </a:cubicBezTo>
                <a:cubicBezTo>
                  <a:pt x="2629" y="2597"/>
                  <a:pt x="2661" y="2502"/>
                  <a:pt x="2629" y="2439"/>
                </a:cubicBezTo>
                <a:lnTo>
                  <a:pt x="2407" y="507"/>
                </a:lnTo>
                <a:cubicBezTo>
                  <a:pt x="2376" y="222"/>
                  <a:pt x="2154" y="0"/>
                  <a:pt x="1869" y="0"/>
                </a:cubicBezTo>
                <a:lnTo>
                  <a:pt x="1552" y="0"/>
                </a:lnTo>
                <a:cubicBezTo>
                  <a:pt x="1489" y="0"/>
                  <a:pt x="1426" y="32"/>
                  <a:pt x="1362" y="95"/>
                </a:cubicBezTo>
                <a:lnTo>
                  <a:pt x="1014" y="444"/>
                </a:lnTo>
                <a:lnTo>
                  <a:pt x="665" y="95"/>
                </a:lnTo>
                <a:cubicBezTo>
                  <a:pt x="602" y="32"/>
                  <a:pt x="539" y="0"/>
                  <a:pt x="47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2" name="Google Shape;242;p17"/>
          <p:cNvSpPr/>
          <p:nvPr/>
        </p:nvSpPr>
        <p:spPr>
          <a:xfrm>
            <a:off x="768376" y="4797561"/>
            <a:ext cx="103472" cy="212969"/>
          </a:xfrm>
          <a:custGeom>
            <a:avLst/>
            <a:gdLst/>
            <a:ahLst/>
            <a:cxnLst/>
            <a:rect l="l" t="t" r="r" b="b"/>
            <a:pathLst>
              <a:path w="2662" h="5479" extrusionOk="0">
                <a:moveTo>
                  <a:pt x="793" y="0"/>
                </a:moveTo>
                <a:cubicBezTo>
                  <a:pt x="508" y="0"/>
                  <a:pt x="286" y="222"/>
                  <a:pt x="254" y="507"/>
                </a:cubicBezTo>
                <a:lnTo>
                  <a:pt x="1" y="2439"/>
                </a:lnTo>
                <a:cubicBezTo>
                  <a:pt x="1" y="2502"/>
                  <a:pt x="1" y="2597"/>
                  <a:pt x="64" y="2660"/>
                </a:cubicBezTo>
                <a:cubicBezTo>
                  <a:pt x="128" y="2692"/>
                  <a:pt x="191" y="2724"/>
                  <a:pt x="286" y="2724"/>
                </a:cubicBezTo>
                <a:lnTo>
                  <a:pt x="571" y="2724"/>
                </a:lnTo>
                <a:lnTo>
                  <a:pt x="793" y="4972"/>
                </a:lnTo>
                <a:cubicBezTo>
                  <a:pt x="824" y="5257"/>
                  <a:pt x="1046" y="5479"/>
                  <a:pt x="1331" y="5479"/>
                </a:cubicBezTo>
                <a:lnTo>
                  <a:pt x="1933" y="5479"/>
                </a:lnTo>
                <a:cubicBezTo>
                  <a:pt x="2218" y="5479"/>
                  <a:pt x="2439" y="5257"/>
                  <a:pt x="2471" y="4972"/>
                </a:cubicBezTo>
                <a:lnTo>
                  <a:pt x="2661" y="3199"/>
                </a:lnTo>
                <a:cubicBezTo>
                  <a:pt x="2566" y="3167"/>
                  <a:pt x="2471" y="3104"/>
                  <a:pt x="2376" y="3009"/>
                </a:cubicBezTo>
                <a:cubicBezTo>
                  <a:pt x="2218" y="2819"/>
                  <a:pt x="2154" y="2597"/>
                  <a:pt x="2186" y="2375"/>
                </a:cubicBezTo>
                <a:lnTo>
                  <a:pt x="2439" y="412"/>
                </a:lnTo>
                <a:cubicBezTo>
                  <a:pt x="2471" y="285"/>
                  <a:pt x="2503" y="159"/>
                  <a:pt x="2566" y="32"/>
                </a:cubicBezTo>
                <a:cubicBezTo>
                  <a:pt x="2534" y="32"/>
                  <a:pt x="2503" y="0"/>
                  <a:pt x="2471" y="0"/>
                </a:cubicBezTo>
                <a:lnTo>
                  <a:pt x="2186" y="0"/>
                </a:lnTo>
                <a:cubicBezTo>
                  <a:pt x="2123" y="0"/>
                  <a:pt x="2028" y="32"/>
                  <a:pt x="1996" y="95"/>
                </a:cubicBezTo>
                <a:lnTo>
                  <a:pt x="1648" y="444"/>
                </a:lnTo>
                <a:lnTo>
                  <a:pt x="1299" y="95"/>
                </a:lnTo>
                <a:cubicBezTo>
                  <a:pt x="1236" y="32"/>
                  <a:pt x="1173" y="0"/>
                  <a:pt x="107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4" name="Google Shape;244;p17"/>
          <p:cNvSpPr txBox="1"/>
          <p:nvPr/>
        </p:nvSpPr>
        <p:spPr>
          <a:xfrm>
            <a:off x="658001" y="1107001"/>
            <a:ext cx="551600" cy="5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2800" kern="0">
                <a:solidFill>
                  <a:srgbClr val="FFFFFF"/>
                </a:solidFill>
                <a:cs typeface="+mn-ea"/>
                <a:sym typeface="+mn-lt"/>
              </a:rPr>
              <a:t>5</a:t>
            </a:r>
            <a:endParaRPr sz="2800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45" name="Google Shape;245;p17"/>
          <p:cNvSpPr/>
          <p:nvPr/>
        </p:nvSpPr>
        <p:spPr>
          <a:xfrm>
            <a:off x="641621" y="1130487"/>
            <a:ext cx="610569" cy="610609"/>
          </a:xfrm>
          <a:custGeom>
            <a:avLst/>
            <a:gdLst/>
            <a:ahLst/>
            <a:cxnLst/>
            <a:rect l="l" t="t" r="r" b="b"/>
            <a:pathLst>
              <a:path w="15708" h="15709" extrusionOk="0">
                <a:moveTo>
                  <a:pt x="7854" y="1"/>
                </a:moveTo>
                <a:cubicBezTo>
                  <a:pt x="3515" y="1"/>
                  <a:pt x="0" y="3516"/>
                  <a:pt x="0" y="7855"/>
                </a:cubicBezTo>
                <a:cubicBezTo>
                  <a:pt x="0" y="12193"/>
                  <a:pt x="3515" y="15708"/>
                  <a:pt x="7854" y="15708"/>
                </a:cubicBezTo>
                <a:cubicBezTo>
                  <a:pt x="12193" y="15708"/>
                  <a:pt x="15708" y="12193"/>
                  <a:pt x="15708" y="7855"/>
                </a:cubicBezTo>
                <a:cubicBezTo>
                  <a:pt x="15708" y="3516"/>
                  <a:pt x="12193" y="1"/>
                  <a:pt x="7854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46" name="Google Shape;246;p17"/>
          <p:cNvSpPr/>
          <p:nvPr/>
        </p:nvSpPr>
        <p:spPr>
          <a:xfrm>
            <a:off x="618221" y="1107085"/>
            <a:ext cx="657369" cy="657408"/>
          </a:xfrm>
          <a:custGeom>
            <a:avLst/>
            <a:gdLst/>
            <a:ahLst/>
            <a:cxnLst/>
            <a:rect l="l" t="t" r="r" b="b"/>
            <a:pathLst>
              <a:path w="16912" h="16913" extrusionOk="0">
                <a:moveTo>
                  <a:pt x="8456" y="1173"/>
                </a:moveTo>
                <a:cubicBezTo>
                  <a:pt x="12478" y="1173"/>
                  <a:pt x="15740" y="4435"/>
                  <a:pt x="15740" y="8457"/>
                </a:cubicBezTo>
                <a:cubicBezTo>
                  <a:pt x="15740" y="12447"/>
                  <a:pt x="12478" y="15709"/>
                  <a:pt x="8456" y="15709"/>
                </a:cubicBezTo>
                <a:cubicBezTo>
                  <a:pt x="4466" y="15709"/>
                  <a:pt x="1204" y="12447"/>
                  <a:pt x="1204" y="8457"/>
                </a:cubicBezTo>
                <a:cubicBezTo>
                  <a:pt x="1204" y="4435"/>
                  <a:pt x="4466" y="1173"/>
                  <a:pt x="8456" y="1173"/>
                </a:cubicBezTo>
                <a:close/>
                <a:moveTo>
                  <a:pt x="8456" y="1"/>
                </a:moveTo>
                <a:cubicBezTo>
                  <a:pt x="3801" y="1"/>
                  <a:pt x="0" y="3801"/>
                  <a:pt x="0" y="8457"/>
                </a:cubicBezTo>
                <a:cubicBezTo>
                  <a:pt x="0" y="13112"/>
                  <a:pt x="3801" y="16912"/>
                  <a:pt x="8456" y="16912"/>
                </a:cubicBezTo>
                <a:cubicBezTo>
                  <a:pt x="13111" y="16912"/>
                  <a:pt x="16912" y="13112"/>
                  <a:pt x="16912" y="8457"/>
                </a:cubicBezTo>
                <a:cubicBezTo>
                  <a:pt x="16912" y="3801"/>
                  <a:pt x="13111" y="1"/>
                  <a:pt x="845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7" name="Google Shape;247;p17"/>
          <p:cNvSpPr/>
          <p:nvPr/>
        </p:nvSpPr>
        <p:spPr>
          <a:xfrm>
            <a:off x="753606" y="1531778"/>
            <a:ext cx="52980" cy="73892"/>
          </a:xfrm>
          <a:custGeom>
            <a:avLst/>
            <a:gdLst/>
            <a:ahLst/>
            <a:cxnLst/>
            <a:rect l="l" t="t" r="r" b="b"/>
            <a:pathLst>
              <a:path w="1363" h="1901" extrusionOk="0">
                <a:moveTo>
                  <a:pt x="951" y="1"/>
                </a:moveTo>
                <a:cubicBezTo>
                  <a:pt x="413" y="1"/>
                  <a:pt x="1" y="444"/>
                  <a:pt x="1" y="951"/>
                </a:cubicBezTo>
                <a:lnTo>
                  <a:pt x="1" y="1647"/>
                </a:lnTo>
                <a:cubicBezTo>
                  <a:pt x="1" y="1774"/>
                  <a:pt x="96" y="1901"/>
                  <a:pt x="254" y="1901"/>
                </a:cubicBezTo>
                <a:lnTo>
                  <a:pt x="1363" y="1901"/>
                </a:lnTo>
                <a:cubicBezTo>
                  <a:pt x="1331" y="1806"/>
                  <a:pt x="1299" y="1742"/>
                  <a:pt x="1299" y="1647"/>
                </a:cubicBezTo>
                <a:lnTo>
                  <a:pt x="1299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8" name="Google Shape;248;p17"/>
          <p:cNvSpPr/>
          <p:nvPr/>
        </p:nvSpPr>
        <p:spPr>
          <a:xfrm>
            <a:off x="825010" y="1478839"/>
            <a:ext cx="52980" cy="126833"/>
          </a:xfrm>
          <a:custGeom>
            <a:avLst/>
            <a:gdLst/>
            <a:ahLst/>
            <a:cxnLst/>
            <a:rect l="l" t="t" r="r" b="b"/>
            <a:pathLst>
              <a:path w="1363" h="3263" extrusionOk="0">
                <a:moveTo>
                  <a:pt x="919" y="1"/>
                </a:moveTo>
                <a:cubicBezTo>
                  <a:pt x="412" y="1"/>
                  <a:pt x="1" y="413"/>
                  <a:pt x="1" y="951"/>
                </a:cubicBezTo>
                <a:lnTo>
                  <a:pt x="1" y="3009"/>
                </a:lnTo>
                <a:cubicBezTo>
                  <a:pt x="1" y="3136"/>
                  <a:pt x="96" y="3263"/>
                  <a:pt x="254" y="3263"/>
                </a:cubicBezTo>
                <a:lnTo>
                  <a:pt x="1363" y="3263"/>
                </a:lnTo>
                <a:cubicBezTo>
                  <a:pt x="1331" y="3168"/>
                  <a:pt x="1299" y="3104"/>
                  <a:pt x="1299" y="3009"/>
                </a:cubicBezTo>
                <a:lnTo>
                  <a:pt x="1299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49" name="Google Shape;249;p17"/>
          <p:cNvSpPr/>
          <p:nvPr/>
        </p:nvSpPr>
        <p:spPr>
          <a:xfrm>
            <a:off x="930891" y="1265910"/>
            <a:ext cx="162516" cy="339763"/>
          </a:xfrm>
          <a:custGeom>
            <a:avLst/>
            <a:gdLst/>
            <a:ahLst/>
            <a:cxnLst/>
            <a:rect l="l" t="t" r="r" b="b"/>
            <a:pathLst>
              <a:path w="4181" h="8741" extrusionOk="0">
                <a:moveTo>
                  <a:pt x="2090" y="0"/>
                </a:moveTo>
                <a:cubicBezTo>
                  <a:pt x="1995" y="0"/>
                  <a:pt x="1932" y="32"/>
                  <a:pt x="1869" y="95"/>
                </a:cubicBezTo>
                <a:lnTo>
                  <a:pt x="64" y="2565"/>
                </a:lnTo>
                <a:cubicBezTo>
                  <a:pt x="0" y="2660"/>
                  <a:pt x="0" y="2755"/>
                  <a:pt x="32" y="2850"/>
                </a:cubicBezTo>
                <a:cubicBezTo>
                  <a:pt x="64" y="2914"/>
                  <a:pt x="159" y="2977"/>
                  <a:pt x="254" y="2977"/>
                </a:cubicBezTo>
                <a:lnTo>
                  <a:pt x="919" y="2977"/>
                </a:lnTo>
                <a:lnTo>
                  <a:pt x="919" y="8487"/>
                </a:lnTo>
                <a:cubicBezTo>
                  <a:pt x="919" y="8614"/>
                  <a:pt x="1045" y="8741"/>
                  <a:pt x="1172" y="8741"/>
                </a:cubicBezTo>
                <a:lnTo>
                  <a:pt x="3009" y="8741"/>
                </a:lnTo>
                <a:cubicBezTo>
                  <a:pt x="3136" y="8741"/>
                  <a:pt x="3262" y="8614"/>
                  <a:pt x="3262" y="8487"/>
                </a:cubicBezTo>
                <a:lnTo>
                  <a:pt x="3262" y="2977"/>
                </a:lnTo>
                <a:lnTo>
                  <a:pt x="3927" y="2977"/>
                </a:lnTo>
                <a:cubicBezTo>
                  <a:pt x="4022" y="2977"/>
                  <a:pt x="4086" y="2914"/>
                  <a:pt x="4149" y="2850"/>
                </a:cubicBezTo>
                <a:cubicBezTo>
                  <a:pt x="4181" y="2755"/>
                  <a:pt x="4181" y="2660"/>
                  <a:pt x="4117" y="2565"/>
                </a:cubicBezTo>
                <a:lnTo>
                  <a:pt x="2280" y="95"/>
                </a:lnTo>
                <a:cubicBezTo>
                  <a:pt x="2249" y="32"/>
                  <a:pt x="2185" y="0"/>
                  <a:pt x="209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50" name="Google Shape;250;p17"/>
          <p:cNvSpPr/>
          <p:nvPr/>
        </p:nvSpPr>
        <p:spPr>
          <a:xfrm>
            <a:off x="895170" y="1425938"/>
            <a:ext cx="52980" cy="179735"/>
          </a:xfrm>
          <a:custGeom>
            <a:avLst/>
            <a:gdLst/>
            <a:ahLst/>
            <a:cxnLst/>
            <a:rect l="l" t="t" r="r" b="b"/>
            <a:pathLst>
              <a:path w="1363" h="4624" extrusionOk="0">
                <a:moveTo>
                  <a:pt x="951" y="0"/>
                </a:moveTo>
                <a:cubicBezTo>
                  <a:pt x="444" y="0"/>
                  <a:pt x="1" y="412"/>
                  <a:pt x="1" y="950"/>
                </a:cubicBezTo>
                <a:lnTo>
                  <a:pt x="1" y="4370"/>
                </a:lnTo>
                <a:cubicBezTo>
                  <a:pt x="1" y="4497"/>
                  <a:pt x="128" y="4624"/>
                  <a:pt x="254" y="4624"/>
                </a:cubicBezTo>
                <a:lnTo>
                  <a:pt x="1363" y="4624"/>
                </a:lnTo>
                <a:cubicBezTo>
                  <a:pt x="1331" y="4529"/>
                  <a:pt x="1331" y="4465"/>
                  <a:pt x="1331" y="4370"/>
                </a:cubicBezTo>
                <a:lnTo>
                  <a:pt x="133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867" kern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6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1A150F9-ECBD-49F1-BC71-2BDFE0CFF4DD}"/>
              </a:ext>
            </a:extLst>
          </p:cNvPr>
          <p:cNvSpPr txBox="1"/>
          <p:nvPr/>
        </p:nvSpPr>
        <p:spPr>
          <a:xfrm>
            <a:off x="1373171" y="1605672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6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6A3306A-D044-4CA5-84D6-41D376355B75}"/>
              </a:ext>
            </a:extLst>
          </p:cNvPr>
          <p:cNvSpPr txBox="1"/>
          <p:nvPr/>
        </p:nvSpPr>
        <p:spPr>
          <a:xfrm>
            <a:off x="1359106" y="3398496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6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4482945-9DFC-46BA-B96B-E62B48EC71A4}"/>
              </a:ext>
            </a:extLst>
          </p:cNvPr>
          <p:cNvSpPr txBox="1"/>
          <p:nvPr/>
        </p:nvSpPr>
        <p:spPr>
          <a:xfrm>
            <a:off x="1404110" y="5097862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6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4707F27-9BDC-4806-BB14-B494577B9E97}"/>
              </a:ext>
            </a:extLst>
          </p:cNvPr>
          <p:cNvSpPr txBox="1"/>
          <p:nvPr/>
        </p:nvSpPr>
        <p:spPr>
          <a:xfrm>
            <a:off x="8326654" y="3388121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6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EDEF632-CDDB-4EB8-82B0-F78199A2C9ED}"/>
              </a:ext>
            </a:extLst>
          </p:cNvPr>
          <p:cNvSpPr txBox="1"/>
          <p:nvPr/>
        </p:nvSpPr>
        <p:spPr>
          <a:xfrm>
            <a:off x="8314209" y="5113266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70" name="Google Shape;1496;p40">
            <a:extLst>
              <a:ext uri="{FF2B5EF4-FFF2-40B4-BE49-F238E27FC236}">
                <a16:creationId xmlns:a16="http://schemas.microsoft.com/office/drawing/2014/main" id="{3A75F91C-BEC0-46EC-BB6B-BB49C5D1661F}"/>
              </a:ext>
            </a:extLst>
          </p:cNvPr>
          <p:cNvSpPr txBox="1"/>
          <p:nvPr/>
        </p:nvSpPr>
        <p:spPr>
          <a:xfrm>
            <a:off x="7782377" y="1741094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84BA7E3B-4AF3-4655-8443-832F1FDC7AF9}"/>
              </a:ext>
            </a:extLst>
          </p:cNvPr>
          <p:cNvSpPr txBox="1"/>
          <p:nvPr/>
        </p:nvSpPr>
        <p:spPr>
          <a:xfrm>
            <a:off x="8038135" y="1842773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 animBg="1"/>
      <p:bldP spid="67" grpId="0" animBg="1"/>
      <p:bldP spid="68" grpId="0" animBg="1"/>
      <p:bldP spid="6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9943E5-C2EF-4133-ADC8-92BBFCBEF39F}"/>
              </a:ext>
            </a:extLst>
          </p:cNvPr>
          <p:cNvGrpSpPr/>
          <p:nvPr/>
        </p:nvGrpSpPr>
        <p:grpSpPr>
          <a:xfrm>
            <a:off x="6264922" y="1132238"/>
            <a:ext cx="4576180" cy="4593524"/>
            <a:chOff x="6540501" y="0"/>
            <a:chExt cx="4896342" cy="49149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94E6301-EB23-4685-88EB-C44A54F0F7DD}"/>
                </a:ext>
              </a:extLst>
            </p:cNvPr>
            <p:cNvSpPr/>
            <p:nvPr/>
          </p:nvSpPr>
          <p:spPr>
            <a:xfrm>
              <a:off x="6540501" y="174627"/>
              <a:ext cx="4178300" cy="4740274"/>
            </a:xfrm>
            <a:prstGeom prst="roundRect">
              <a:avLst>
                <a:gd name="adj" fmla="val 676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pic>
          <p:nvPicPr>
            <p:cNvPr id="11" name="Picture 10" descr="A close up of a tower&#10;&#10;Description automatically generated">
              <a:extLst>
                <a:ext uri="{FF2B5EF4-FFF2-40B4-BE49-F238E27FC236}">
                  <a16:creationId xmlns:a16="http://schemas.microsoft.com/office/drawing/2014/main" id="{377C7E56-A503-4A1C-A558-116396C5E3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99651" y="0"/>
              <a:ext cx="4537192" cy="4622800"/>
            </a:xfrm>
            <a:prstGeom prst="rect">
              <a:avLst/>
            </a:prstGeom>
          </p:spPr>
        </p:pic>
      </p:grp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1440862" y="1530429"/>
            <a:ext cx="703199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5100" y="6369819"/>
            <a:ext cx="274434" cy="276999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4D2E29-67F4-44D8-B0E3-F54815B4F1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31409A3-BCA5-4112-983E-0B015B4FEC9B}"/>
              </a:ext>
            </a:extLst>
          </p:cNvPr>
          <p:cNvSpPr txBox="1"/>
          <p:nvPr/>
        </p:nvSpPr>
        <p:spPr>
          <a:xfrm>
            <a:off x="1316175" y="2535320"/>
            <a:ext cx="44672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u="sng" dirty="0">
                <a:solidFill>
                  <a:srgbClr val="A43975"/>
                </a:solidFill>
                <a:cs typeface="+mn-ea"/>
                <a:sym typeface="+mn-lt"/>
              </a:rPr>
              <a:t>Part two</a:t>
            </a:r>
          </a:p>
        </p:txBody>
      </p:sp>
      <p:sp>
        <p:nvSpPr>
          <p:cNvPr id="16" name="Rectangle: Rounded Corners 10">
            <a:extLst>
              <a:ext uri="{FF2B5EF4-FFF2-40B4-BE49-F238E27FC236}">
                <a16:creationId xmlns:a16="http://schemas.microsoft.com/office/drawing/2014/main" id="{98FA1314-0C5F-4BDA-814F-E48678576C79}"/>
              </a:ext>
            </a:extLst>
          </p:cNvPr>
          <p:cNvSpPr/>
          <p:nvPr/>
        </p:nvSpPr>
        <p:spPr>
          <a:xfrm>
            <a:off x="1440861" y="4594340"/>
            <a:ext cx="2161224" cy="510760"/>
          </a:xfrm>
          <a:prstGeom prst="roundRect">
            <a:avLst>
              <a:gd name="adj" fmla="val 50000"/>
            </a:avLst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en-US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A2F7233-5CF3-4BAA-9DB3-924685106EE7}"/>
              </a:ext>
            </a:extLst>
          </p:cNvPr>
          <p:cNvSpPr txBox="1">
            <a:spLocks/>
          </p:cNvSpPr>
          <p:nvPr/>
        </p:nvSpPr>
        <p:spPr>
          <a:xfrm>
            <a:off x="1725794" y="4791162"/>
            <a:ext cx="1627165" cy="1523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dist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JP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ea"/>
                <a:sym typeface="+mn-lt"/>
              </a:rPr>
              <a:t>PPT.COM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8328037-B8CC-4CFE-9C61-0B136E1EDB1B}"/>
              </a:ext>
            </a:extLst>
          </p:cNvPr>
          <p:cNvSpPr txBox="1"/>
          <p:nvPr/>
        </p:nvSpPr>
        <p:spPr>
          <a:xfrm>
            <a:off x="1440861" y="3649391"/>
            <a:ext cx="2810448" cy="6924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v="urn:schemas-microsoft-com:vml" xmlns:a14="http://schemas.microsoft.com/office/drawing/2010/main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, Synergistically</a:t>
            </a:r>
          </a:p>
        </p:txBody>
      </p:sp>
      <p:sp>
        <p:nvSpPr>
          <p:cNvPr id="19" name="Google Shape;13;p2">
            <a:extLst>
              <a:ext uri="{FF2B5EF4-FFF2-40B4-BE49-F238E27FC236}">
                <a16:creationId xmlns:a16="http://schemas.microsoft.com/office/drawing/2014/main" id="{509DD1A6-1FA7-493E-B44D-F8868C2102FE}"/>
              </a:ext>
            </a:extLst>
          </p:cNvPr>
          <p:cNvSpPr/>
          <p:nvPr/>
        </p:nvSpPr>
        <p:spPr>
          <a:xfrm rot="12770">
            <a:off x="628033" y="2574350"/>
            <a:ext cx="411039" cy="397729"/>
          </a:xfrm>
          <a:custGeom>
            <a:avLst/>
            <a:gdLst/>
            <a:ahLst/>
            <a:cxnLst/>
            <a:rect l="l" t="t" r="r" b="b"/>
            <a:pathLst>
              <a:path w="8725" h="8725" extrusionOk="0">
                <a:moveTo>
                  <a:pt x="4377" y="1"/>
                </a:moveTo>
                <a:cubicBezTo>
                  <a:pt x="1946" y="1"/>
                  <a:pt x="0" y="1946"/>
                  <a:pt x="0" y="4347"/>
                </a:cubicBezTo>
                <a:cubicBezTo>
                  <a:pt x="0" y="6779"/>
                  <a:pt x="1946" y="8724"/>
                  <a:pt x="4377" y="8724"/>
                </a:cubicBezTo>
                <a:cubicBezTo>
                  <a:pt x="6779" y="8724"/>
                  <a:pt x="8724" y="6779"/>
                  <a:pt x="8724" y="4347"/>
                </a:cubicBezTo>
                <a:cubicBezTo>
                  <a:pt x="8724" y="1946"/>
                  <a:pt x="6779" y="1"/>
                  <a:pt x="4377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0" name="Google Shape;14;p2">
            <a:extLst>
              <a:ext uri="{FF2B5EF4-FFF2-40B4-BE49-F238E27FC236}">
                <a16:creationId xmlns:a16="http://schemas.microsoft.com/office/drawing/2014/main" id="{9FDDE0E7-DC25-48CF-AAB3-D30CE6AB5B87}"/>
              </a:ext>
            </a:extLst>
          </p:cNvPr>
          <p:cNvSpPr/>
          <p:nvPr/>
        </p:nvSpPr>
        <p:spPr>
          <a:xfrm rot="12770">
            <a:off x="1050772" y="2255542"/>
            <a:ext cx="181893" cy="176004"/>
          </a:xfrm>
          <a:custGeom>
            <a:avLst/>
            <a:gdLst/>
            <a:ahLst/>
            <a:cxnLst/>
            <a:rect l="l" t="t" r="r" b="b"/>
            <a:pathLst>
              <a:path w="3861" h="3861" extrusionOk="0">
                <a:moveTo>
                  <a:pt x="1946" y="1"/>
                </a:moveTo>
                <a:cubicBezTo>
                  <a:pt x="851" y="1"/>
                  <a:pt x="0" y="852"/>
                  <a:pt x="0" y="1946"/>
                </a:cubicBezTo>
                <a:cubicBezTo>
                  <a:pt x="0" y="3010"/>
                  <a:pt x="851" y="3861"/>
                  <a:pt x="1946" y="3861"/>
                </a:cubicBezTo>
                <a:cubicBezTo>
                  <a:pt x="3010" y="3861"/>
                  <a:pt x="3861" y="3010"/>
                  <a:pt x="3861" y="1946"/>
                </a:cubicBezTo>
                <a:cubicBezTo>
                  <a:pt x="3861" y="852"/>
                  <a:pt x="3010" y="1"/>
                  <a:pt x="1946" y="1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742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v="urn:schemas-microsoft-com:vml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/>
      <p:bldP spid="18" grpId="0" animBg="1"/>
      <p:bldP spid="19" grpId="0" animBg="1"/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E98BAF20-4A16-447D-82AF-B00D74FDE7E9}"/>
              </a:ext>
            </a:extLst>
          </p:cNvPr>
          <p:cNvSpPr/>
          <p:nvPr/>
        </p:nvSpPr>
        <p:spPr>
          <a:xfrm flipV="1">
            <a:off x="-27832" y="6007100"/>
            <a:ext cx="1184981" cy="849168"/>
          </a:xfrm>
          <a:custGeom>
            <a:avLst/>
            <a:gdLst>
              <a:gd name="connsiteX0" fmla="*/ 1176592 w 1184981"/>
              <a:gd name="connsiteY0" fmla="*/ 849112 h 849168"/>
              <a:gd name="connsiteX1" fmla="*/ 1184981 w 1184981"/>
              <a:gd name="connsiteY1" fmla="*/ 794657 h 849168"/>
              <a:gd name="connsiteX2" fmla="*/ 1184981 w 1184981"/>
              <a:gd name="connsiteY2" fmla="*/ 1476 h 849168"/>
              <a:gd name="connsiteX3" fmla="*/ 0 w 1184981"/>
              <a:gd name="connsiteY3" fmla="*/ 0 h 849168"/>
              <a:gd name="connsiteX4" fmla="*/ 0 w 1184981"/>
              <a:gd name="connsiteY4" fmla="*/ 544469 h 849168"/>
              <a:gd name="connsiteX5" fmla="*/ 59549 w 1184981"/>
              <a:gd name="connsiteY5" fmla="*/ 545886 h 849168"/>
              <a:gd name="connsiteX6" fmla="*/ 226860 w 1184981"/>
              <a:gd name="connsiteY6" fmla="*/ 544454 h 849168"/>
              <a:gd name="connsiteX7" fmla="*/ 1176592 w 1184981"/>
              <a:gd name="connsiteY7" fmla="*/ 849112 h 849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981" h="849168">
                <a:moveTo>
                  <a:pt x="1176592" y="849112"/>
                </a:moveTo>
                <a:cubicBezTo>
                  <a:pt x="1184097" y="850234"/>
                  <a:pt x="1184940" y="834731"/>
                  <a:pt x="1184981" y="794657"/>
                </a:cubicBezTo>
                <a:lnTo>
                  <a:pt x="1184981" y="1476"/>
                </a:lnTo>
                <a:lnTo>
                  <a:pt x="0" y="0"/>
                </a:lnTo>
                <a:lnTo>
                  <a:pt x="0" y="544469"/>
                </a:lnTo>
                <a:lnTo>
                  <a:pt x="59549" y="545886"/>
                </a:lnTo>
                <a:cubicBezTo>
                  <a:pt x="112733" y="546255"/>
                  <a:pt x="168429" y="545781"/>
                  <a:pt x="226860" y="544454"/>
                </a:cubicBezTo>
                <a:cubicBezTo>
                  <a:pt x="986458" y="527196"/>
                  <a:pt x="1144073" y="844249"/>
                  <a:pt x="1176592" y="849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id="{155DC282-20F4-415C-BFD1-CC8145E87C90}"/>
              </a:ext>
            </a:extLst>
          </p:cNvPr>
          <p:cNvSpPr/>
          <p:nvPr/>
        </p:nvSpPr>
        <p:spPr>
          <a:xfrm flipH="1" flipV="1">
            <a:off x="3695700" y="6007100"/>
            <a:ext cx="2575939" cy="8509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A8C45E-8FA0-4167-B280-478FCF9C9782}"/>
              </a:ext>
            </a:extLst>
          </p:cNvPr>
          <p:cNvSpPr/>
          <p:nvPr/>
        </p:nvSpPr>
        <p:spPr>
          <a:xfrm>
            <a:off x="2841524" y="806246"/>
            <a:ext cx="9350477" cy="845574"/>
          </a:xfrm>
          <a:prstGeom prst="rect">
            <a:avLst/>
          </a:pr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3AF1DA8-2D4F-48A8-9C59-2ABC51E61DA0}"/>
              </a:ext>
            </a:extLst>
          </p:cNvPr>
          <p:cNvGrpSpPr/>
          <p:nvPr/>
        </p:nvGrpSpPr>
        <p:grpSpPr>
          <a:xfrm>
            <a:off x="11233701" y="983226"/>
            <a:ext cx="489459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4" name="Freeform 70">
              <a:extLst>
                <a:ext uri="{FF2B5EF4-FFF2-40B4-BE49-F238E27FC236}">
                  <a16:creationId xmlns:a16="http://schemas.microsoft.com/office/drawing/2014/main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" name="Freeform 71">
              <a:extLst>
                <a:ext uri="{FF2B5EF4-FFF2-40B4-BE49-F238E27FC236}">
                  <a16:creationId xmlns:a16="http://schemas.microsoft.com/office/drawing/2014/main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6" name="Freeform 72">
              <a:extLst>
                <a:ext uri="{FF2B5EF4-FFF2-40B4-BE49-F238E27FC236}">
                  <a16:creationId xmlns:a16="http://schemas.microsoft.com/office/drawing/2014/main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7" name="Freeform 73">
              <a:extLst>
                <a:ext uri="{FF2B5EF4-FFF2-40B4-BE49-F238E27FC236}">
                  <a16:creationId xmlns:a16="http://schemas.microsoft.com/office/drawing/2014/main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" name="Freeform 74">
              <a:extLst>
                <a:ext uri="{FF2B5EF4-FFF2-40B4-BE49-F238E27FC236}">
                  <a16:creationId xmlns:a16="http://schemas.microsoft.com/office/drawing/2014/main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9" name="矩形 18">
            <a:extLst>
              <a:ext uri="{FF2B5EF4-FFF2-40B4-BE49-F238E27FC236}">
                <a16:creationId xmlns:a16="http://schemas.microsoft.com/office/drawing/2014/main" id="{4308EF59-1C8B-4FD3-BF95-F15756EF4216}"/>
              </a:ext>
            </a:extLst>
          </p:cNvPr>
          <p:cNvSpPr/>
          <p:nvPr/>
        </p:nvSpPr>
        <p:spPr>
          <a:xfrm>
            <a:off x="637024" y="1239815"/>
            <a:ext cx="3675351" cy="5609562"/>
          </a:xfrm>
          <a:prstGeom prst="rect">
            <a:avLst/>
          </a:prstGeom>
          <a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F902FBC-9404-4B2A-9DAF-2BCFFD29BA11}"/>
              </a:ext>
            </a:extLst>
          </p:cNvPr>
          <p:cNvSpPr txBox="1"/>
          <p:nvPr/>
        </p:nvSpPr>
        <p:spPr>
          <a:xfrm>
            <a:off x="6973991" y="1115522"/>
            <a:ext cx="2556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iṥḻiḑè">
            <a:extLst>
              <a:ext uri="{FF2B5EF4-FFF2-40B4-BE49-F238E27FC236}">
                <a16:creationId xmlns:a16="http://schemas.microsoft.com/office/drawing/2014/main" id="{56EF0543-9AA1-478D-85D2-8AF10845C58C}"/>
              </a:ext>
            </a:extLst>
          </p:cNvPr>
          <p:cNvSpPr/>
          <p:nvPr/>
        </p:nvSpPr>
        <p:spPr bwMode="auto">
          <a:xfrm>
            <a:off x="5065802" y="2419501"/>
            <a:ext cx="725804" cy="73015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2" name="í$1ïḑé">
            <a:extLst>
              <a:ext uri="{FF2B5EF4-FFF2-40B4-BE49-F238E27FC236}">
                <a16:creationId xmlns:a16="http://schemas.microsoft.com/office/drawing/2014/main" id="{6E257FDB-8FC2-443C-A47B-1F025CA57065}"/>
              </a:ext>
            </a:extLst>
          </p:cNvPr>
          <p:cNvSpPr/>
          <p:nvPr/>
        </p:nvSpPr>
        <p:spPr bwMode="auto">
          <a:xfrm>
            <a:off x="5177603" y="2576732"/>
            <a:ext cx="502203" cy="415693"/>
          </a:xfrm>
          <a:custGeom>
            <a:avLst/>
            <a:gdLst>
              <a:gd name="T0" fmla="*/ 260 w 287"/>
              <a:gd name="T1" fmla="*/ 78 h 237"/>
              <a:gd name="T2" fmla="*/ 244 w 287"/>
              <a:gd name="T3" fmla="*/ 94 h 237"/>
              <a:gd name="T4" fmla="*/ 260 w 287"/>
              <a:gd name="T5" fmla="*/ 111 h 237"/>
              <a:gd name="T6" fmla="*/ 277 w 287"/>
              <a:gd name="T7" fmla="*/ 94 h 237"/>
              <a:gd name="T8" fmla="*/ 260 w 287"/>
              <a:gd name="T9" fmla="*/ 78 h 237"/>
              <a:gd name="T10" fmla="*/ 27 w 287"/>
              <a:gd name="T11" fmla="*/ 78 h 237"/>
              <a:gd name="T12" fmla="*/ 11 w 287"/>
              <a:gd name="T13" fmla="*/ 94 h 237"/>
              <a:gd name="T14" fmla="*/ 27 w 287"/>
              <a:gd name="T15" fmla="*/ 111 h 237"/>
              <a:gd name="T16" fmla="*/ 43 w 287"/>
              <a:gd name="T17" fmla="*/ 94 h 237"/>
              <a:gd name="T18" fmla="*/ 27 w 287"/>
              <a:gd name="T19" fmla="*/ 78 h 237"/>
              <a:gd name="T20" fmla="*/ 212 w 287"/>
              <a:gd name="T21" fmla="*/ 49 h 237"/>
              <a:gd name="T22" fmla="*/ 188 w 287"/>
              <a:gd name="T23" fmla="*/ 73 h 237"/>
              <a:gd name="T24" fmla="*/ 212 w 287"/>
              <a:gd name="T25" fmla="*/ 97 h 237"/>
              <a:gd name="T26" fmla="*/ 236 w 287"/>
              <a:gd name="T27" fmla="*/ 73 h 237"/>
              <a:gd name="T28" fmla="*/ 212 w 287"/>
              <a:gd name="T29" fmla="*/ 49 h 237"/>
              <a:gd name="T30" fmla="*/ 287 w 287"/>
              <a:gd name="T31" fmla="*/ 196 h 237"/>
              <a:gd name="T32" fmla="*/ 259 w 287"/>
              <a:gd name="T33" fmla="*/ 196 h 237"/>
              <a:gd name="T34" fmla="*/ 259 w 287"/>
              <a:gd name="T35" fmla="*/ 145 h 237"/>
              <a:gd name="T36" fmla="*/ 253 w 287"/>
              <a:gd name="T37" fmla="*/ 121 h 237"/>
              <a:gd name="T38" fmla="*/ 260 w 287"/>
              <a:gd name="T39" fmla="*/ 120 h 237"/>
              <a:gd name="T40" fmla="*/ 287 w 287"/>
              <a:gd name="T41" fmla="*/ 147 h 237"/>
              <a:gd name="T42" fmla="*/ 287 w 287"/>
              <a:gd name="T43" fmla="*/ 196 h 237"/>
              <a:gd name="T44" fmla="*/ 75 w 287"/>
              <a:gd name="T45" fmla="*/ 49 h 237"/>
              <a:gd name="T46" fmla="*/ 51 w 287"/>
              <a:gd name="T47" fmla="*/ 73 h 237"/>
              <a:gd name="T48" fmla="*/ 75 w 287"/>
              <a:gd name="T49" fmla="*/ 97 h 237"/>
              <a:gd name="T50" fmla="*/ 99 w 287"/>
              <a:gd name="T51" fmla="*/ 73 h 237"/>
              <a:gd name="T52" fmla="*/ 75 w 287"/>
              <a:gd name="T53" fmla="*/ 49 h 237"/>
              <a:gd name="T54" fmla="*/ 27 w 287"/>
              <a:gd name="T55" fmla="*/ 120 h 237"/>
              <a:gd name="T56" fmla="*/ 34 w 287"/>
              <a:gd name="T57" fmla="*/ 121 h 237"/>
              <a:gd name="T58" fmla="*/ 28 w 287"/>
              <a:gd name="T59" fmla="*/ 145 h 237"/>
              <a:gd name="T60" fmla="*/ 28 w 287"/>
              <a:gd name="T61" fmla="*/ 196 h 237"/>
              <a:gd name="T62" fmla="*/ 0 w 287"/>
              <a:gd name="T63" fmla="*/ 196 h 237"/>
              <a:gd name="T64" fmla="*/ 0 w 287"/>
              <a:gd name="T65" fmla="*/ 147 h 237"/>
              <a:gd name="T66" fmla="*/ 27 w 287"/>
              <a:gd name="T67" fmla="*/ 120 h 237"/>
              <a:gd name="T68" fmla="*/ 144 w 287"/>
              <a:gd name="T69" fmla="*/ 0 h 237"/>
              <a:gd name="T70" fmla="*/ 108 w 287"/>
              <a:gd name="T71" fmla="*/ 36 h 237"/>
              <a:gd name="T72" fmla="*/ 144 w 287"/>
              <a:gd name="T73" fmla="*/ 72 h 237"/>
              <a:gd name="T74" fmla="*/ 179 w 287"/>
              <a:gd name="T75" fmla="*/ 36 h 237"/>
              <a:gd name="T76" fmla="*/ 144 w 287"/>
              <a:gd name="T77" fmla="*/ 0 h 237"/>
              <a:gd name="T78" fmla="*/ 251 w 287"/>
              <a:gd name="T79" fmla="*/ 214 h 237"/>
              <a:gd name="T80" fmla="*/ 208 w 287"/>
              <a:gd name="T81" fmla="*/ 214 h 237"/>
              <a:gd name="T82" fmla="*/ 208 w 287"/>
              <a:gd name="T83" fmla="*/ 137 h 237"/>
              <a:gd name="T84" fmla="*/ 201 w 287"/>
              <a:gd name="T85" fmla="*/ 108 h 237"/>
              <a:gd name="T86" fmla="*/ 212 w 287"/>
              <a:gd name="T87" fmla="*/ 106 h 237"/>
              <a:gd name="T88" fmla="*/ 251 w 287"/>
              <a:gd name="T89" fmla="*/ 145 h 237"/>
              <a:gd name="T90" fmla="*/ 251 w 287"/>
              <a:gd name="T91" fmla="*/ 214 h 237"/>
              <a:gd name="T92" fmla="*/ 79 w 287"/>
              <a:gd name="T93" fmla="*/ 137 h 237"/>
              <a:gd name="T94" fmla="*/ 79 w 287"/>
              <a:gd name="T95" fmla="*/ 214 h 237"/>
              <a:gd name="T96" fmla="*/ 37 w 287"/>
              <a:gd name="T97" fmla="*/ 214 h 237"/>
              <a:gd name="T98" fmla="*/ 37 w 287"/>
              <a:gd name="T99" fmla="*/ 145 h 237"/>
              <a:gd name="T100" fmla="*/ 75 w 287"/>
              <a:gd name="T101" fmla="*/ 106 h 237"/>
              <a:gd name="T102" fmla="*/ 86 w 287"/>
              <a:gd name="T103" fmla="*/ 108 h 237"/>
              <a:gd name="T104" fmla="*/ 79 w 287"/>
              <a:gd name="T105" fmla="*/ 137 h 237"/>
              <a:gd name="T106" fmla="*/ 88 w 287"/>
              <a:gd name="T107" fmla="*/ 237 h 237"/>
              <a:gd name="T108" fmla="*/ 200 w 287"/>
              <a:gd name="T109" fmla="*/ 237 h 237"/>
              <a:gd name="T110" fmla="*/ 200 w 287"/>
              <a:gd name="T111" fmla="*/ 137 h 237"/>
              <a:gd name="T112" fmla="*/ 144 w 287"/>
              <a:gd name="T113" fmla="*/ 81 h 237"/>
              <a:gd name="T114" fmla="*/ 88 w 287"/>
              <a:gd name="T115" fmla="*/ 137 h 237"/>
              <a:gd name="T116" fmla="*/ 88 w 287"/>
              <a:gd name="T117" fmla="*/ 237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7" h="237">
                <a:moveTo>
                  <a:pt x="260" y="78"/>
                </a:moveTo>
                <a:cubicBezTo>
                  <a:pt x="251" y="78"/>
                  <a:pt x="244" y="85"/>
                  <a:pt x="244" y="94"/>
                </a:cubicBezTo>
                <a:cubicBezTo>
                  <a:pt x="244" y="103"/>
                  <a:pt x="251" y="111"/>
                  <a:pt x="260" y="111"/>
                </a:cubicBezTo>
                <a:cubicBezTo>
                  <a:pt x="269" y="111"/>
                  <a:pt x="277" y="103"/>
                  <a:pt x="277" y="94"/>
                </a:cubicBezTo>
                <a:cubicBezTo>
                  <a:pt x="277" y="85"/>
                  <a:pt x="269" y="78"/>
                  <a:pt x="260" y="78"/>
                </a:cubicBezTo>
                <a:close/>
                <a:moveTo>
                  <a:pt x="27" y="78"/>
                </a:moveTo>
                <a:cubicBezTo>
                  <a:pt x="18" y="78"/>
                  <a:pt x="11" y="85"/>
                  <a:pt x="11" y="94"/>
                </a:cubicBezTo>
                <a:cubicBezTo>
                  <a:pt x="11" y="103"/>
                  <a:pt x="18" y="111"/>
                  <a:pt x="27" y="111"/>
                </a:cubicBezTo>
                <a:cubicBezTo>
                  <a:pt x="36" y="111"/>
                  <a:pt x="43" y="103"/>
                  <a:pt x="43" y="94"/>
                </a:cubicBezTo>
                <a:cubicBezTo>
                  <a:pt x="43" y="85"/>
                  <a:pt x="36" y="78"/>
                  <a:pt x="27" y="78"/>
                </a:cubicBezTo>
                <a:close/>
                <a:moveTo>
                  <a:pt x="212" y="49"/>
                </a:moveTo>
                <a:cubicBezTo>
                  <a:pt x="199" y="49"/>
                  <a:pt x="188" y="59"/>
                  <a:pt x="188" y="73"/>
                </a:cubicBezTo>
                <a:cubicBezTo>
                  <a:pt x="188" y="86"/>
                  <a:pt x="199" y="97"/>
                  <a:pt x="212" y="97"/>
                </a:cubicBezTo>
                <a:cubicBezTo>
                  <a:pt x="225" y="97"/>
                  <a:pt x="236" y="86"/>
                  <a:pt x="236" y="73"/>
                </a:cubicBezTo>
                <a:cubicBezTo>
                  <a:pt x="236" y="59"/>
                  <a:pt x="225" y="49"/>
                  <a:pt x="212" y="49"/>
                </a:cubicBezTo>
                <a:close/>
                <a:moveTo>
                  <a:pt x="287" y="196"/>
                </a:moveTo>
                <a:cubicBezTo>
                  <a:pt x="259" y="196"/>
                  <a:pt x="259" y="196"/>
                  <a:pt x="259" y="196"/>
                </a:cubicBezTo>
                <a:cubicBezTo>
                  <a:pt x="259" y="145"/>
                  <a:pt x="259" y="145"/>
                  <a:pt x="259" y="145"/>
                </a:cubicBezTo>
                <a:cubicBezTo>
                  <a:pt x="259" y="136"/>
                  <a:pt x="257" y="128"/>
                  <a:pt x="253" y="121"/>
                </a:cubicBezTo>
                <a:cubicBezTo>
                  <a:pt x="255" y="120"/>
                  <a:pt x="258" y="120"/>
                  <a:pt x="260" y="120"/>
                </a:cubicBezTo>
                <a:cubicBezTo>
                  <a:pt x="275" y="120"/>
                  <a:pt x="287" y="132"/>
                  <a:pt x="287" y="147"/>
                </a:cubicBezTo>
                <a:lnTo>
                  <a:pt x="287" y="196"/>
                </a:lnTo>
                <a:close/>
                <a:moveTo>
                  <a:pt x="75" y="49"/>
                </a:moveTo>
                <a:cubicBezTo>
                  <a:pt x="62" y="49"/>
                  <a:pt x="51" y="59"/>
                  <a:pt x="51" y="73"/>
                </a:cubicBezTo>
                <a:cubicBezTo>
                  <a:pt x="51" y="86"/>
                  <a:pt x="62" y="97"/>
                  <a:pt x="75" y="97"/>
                </a:cubicBezTo>
                <a:cubicBezTo>
                  <a:pt x="88" y="97"/>
                  <a:pt x="99" y="86"/>
                  <a:pt x="99" y="73"/>
                </a:cubicBezTo>
                <a:cubicBezTo>
                  <a:pt x="99" y="59"/>
                  <a:pt x="88" y="49"/>
                  <a:pt x="75" y="49"/>
                </a:cubicBezTo>
                <a:close/>
                <a:moveTo>
                  <a:pt x="27" y="120"/>
                </a:moveTo>
                <a:cubicBezTo>
                  <a:pt x="29" y="120"/>
                  <a:pt x="32" y="120"/>
                  <a:pt x="34" y="121"/>
                </a:cubicBezTo>
                <a:cubicBezTo>
                  <a:pt x="30" y="128"/>
                  <a:pt x="28" y="136"/>
                  <a:pt x="28" y="145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32"/>
                  <a:pt x="12" y="120"/>
                  <a:pt x="27" y="120"/>
                </a:cubicBezTo>
                <a:close/>
                <a:moveTo>
                  <a:pt x="144" y="0"/>
                </a:moveTo>
                <a:cubicBezTo>
                  <a:pt x="124" y="0"/>
                  <a:pt x="108" y="16"/>
                  <a:pt x="108" y="36"/>
                </a:cubicBezTo>
                <a:cubicBezTo>
                  <a:pt x="108" y="56"/>
                  <a:pt x="124" y="72"/>
                  <a:pt x="144" y="72"/>
                </a:cubicBezTo>
                <a:cubicBezTo>
                  <a:pt x="163" y="72"/>
                  <a:pt x="179" y="56"/>
                  <a:pt x="179" y="36"/>
                </a:cubicBezTo>
                <a:cubicBezTo>
                  <a:pt x="179" y="16"/>
                  <a:pt x="163" y="0"/>
                  <a:pt x="144" y="0"/>
                </a:cubicBezTo>
                <a:close/>
                <a:moveTo>
                  <a:pt x="251" y="214"/>
                </a:moveTo>
                <a:cubicBezTo>
                  <a:pt x="208" y="214"/>
                  <a:pt x="208" y="214"/>
                  <a:pt x="208" y="214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27"/>
                  <a:pt x="206" y="117"/>
                  <a:pt x="201" y="108"/>
                </a:cubicBezTo>
                <a:cubicBezTo>
                  <a:pt x="205" y="107"/>
                  <a:pt x="208" y="106"/>
                  <a:pt x="212" y="106"/>
                </a:cubicBezTo>
                <a:cubicBezTo>
                  <a:pt x="233" y="106"/>
                  <a:pt x="251" y="124"/>
                  <a:pt x="251" y="145"/>
                </a:cubicBezTo>
                <a:lnTo>
                  <a:pt x="251" y="214"/>
                </a:lnTo>
                <a:close/>
                <a:moveTo>
                  <a:pt x="79" y="137"/>
                </a:moveTo>
                <a:cubicBezTo>
                  <a:pt x="79" y="214"/>
                  <a:pt x="79" y="214"/>
                  <a:pt x="79" y="214"/>
                </a:cubicBezTo>
                <a:cubicBezTo>
                  <a:pt x="37" y="214"/>
                  <a:pt x="37" y="214"/>
                  <a:pt x="37" y="21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7" y="124"/>
                  <a:pt x="54" y="106"/>
                  <a:pt x="75" y="106"/>
                </a:cubicBezTo>
                <a:cubicBezTo>
                  <a:pt x="79" y="106"/>
                  <a:pt x="83" y="107"/>
                  <a:pt x="86" y="108"/>
                </a:cubicBezTo>
                <a:cubicBezTo>
                  <a:pt x="81" y="117"/>
                  <a:pt x="79" y="127"/>
                  <a:pt x="79" y="137"/>
                </a:cubicBezTo>
                <a:close/>
                <a:moveTo>
                  <a:pt x="88" y="237"/>
                </a:moveTo>
                <a:cubicBezTo>
                  <a:pt x="200" y="237"/>
                  <a:pt x="200" y="237"/>
                  <a:pt x="200" y="237"/>
                </a:cubicBezTo>
                <a:cubicBezTo>
                  <a:pt x="200" y="137"/>
                  <a:pt x="200" y="137"/>
                  <a:pt x="200" y="137"/>
                </a:cubicBezTo>
                <a:cubicBezTo>
                  <a:pt x="200" y="106"/>
                  <a:pt x="174" y="81"/>
                  <a:pt x="144" y="81"/>
                </a:cubicBezTo>
                <a:cubicBezTo>
                  <a:pt x="113" y="81"/>
                  <a:pt x="88" y="106"/>
                  <a:pt x="88" y="137"/>
                </a:cubicBezTo>
                <a:lnTo>
                  <a:pt x="88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6D96F12-B46D-441A-AA89-9185F6CEF97B}"/>
              </a:ext>
            </a:extLst>
          </p:cNvPr>
          <p:cNvSpPr txBox="1"/>
          <p:nvPr/>
        </p:nvSpPr>
        <p:spPr>
          <a:xfrm>
            <a:off x="5958590" y="2283234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00" kern="0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  <a:sym typeface="+mn-lt"/>
              </a:rPr>
              <a:t>Synergistically utilize technically sound portals with frictionless </a:t>
            </a:r>
            <a:r>
              <a:rPr sz="1000" kern="0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  <a:sym typeface="+mn-lt"/>
              </a:rPr>
              <a:t>chains</a:t>
            </a:r>
            <a:r>
              <a:rPr lang="en-US" altLang="zh-CN" sz="1000" kern="0" dirty="0" err="1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  <a:sym typeface="+mn-lt"/>
              </a:rPr>
              <a:t>Synergistically</a:t>
            </a:r>
            <a:r>
              <a:rPr lang="zh-CN" altLang="en-US" sz="1000" kern="0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  <a:sym typeface="+mn-lt"/>
              </a:rPr>
              <a:t>，</a:t>
            </a:r>
            <a:r>
              <a:rPr lang="en-US" altLang="zh-CN" sz="1000" kern="0" dirty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  <a:sym typeface="+mn-lt"/>
              </a:rPr>
              <a:t>Synergistically utilize</a:t>
            </a:r>
          </a:p>
        </p:txBody>
      </p:sp>
      <p:sp>
        <p:nvSpPr>
          <p:cNvPr id="24" name="iṥḻiḑè">
            <a:extLst>
              <a:ext uri="{FF2B5EF4-FFF2-40B4-BE49-F238E27FC236}">
                <a16:creationId xmlns:a16="http://schemas.microsoft.com/office/drawing/2014/main" id="{01DEB1D4-7287-40C0-B7EF-0915D0A58288}"/>
              </a:ext>
            </a:extLst>
          </p:cNvPr>
          <p:cNvSpPr/>
          <p:nvPr/>
        </p:nvSpPr>
        <p:spPr bwMode="auto">
          <a:xfrm>
            <a:off x="5065802" y="3812390"/>
            <a:ext cx="725804" cy="73015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5" name="í$1ïḑé">
            <a:extLst>
              <a:ext uri="{FF2B5EF4-FFF2-40B4-BE49-F238E27FC236}">
                <a16:creationId xmlns:a16="http://schemas.microsoft.com/office/drawing/2014/main" id="{DABDEAE7-CE8A-4B2B-83EF-60D8C05AC676}"/>
              </a:ext>
            </a:extLst>
          </p:cNvPr>
          <p:cNvSpPr/>
          <p:nvPr/>
        </p:nvSpPr>
        <p:spPr bwMode="auto">
          <a:xfrm>
            <a:off x="5177603" y="3969621"/>
            <a:ext cx="502203" cy="415693"/>
          </a:xfrm>
          <a:custGeom>
            <a:avLst/>
            <a:gdLst>
              <a:gd name="T0" fmla="*/ 260 w 287"/>
              <a:gd name="T1" fmla="*/ 78 h 237"/>
              <a:gd name="T2" fmla="*/ 244 w 287"/>
              <a:gd name="T3" fmla="*/ 94 h 237"/>
              <a:gd name="T4" fmla="*/ 260 w 287"/>
              <a:gd name="T5" fmla="*/ 111 h 237"/>
              <a:gd name="T6" fmla="*/ 277 w 287"/>
              <a:gd name="T7" fmla="*/ 94 h 237"/>
              <a:gd name="T8" fmla="*/ 260 w 287"/>
              <a:gd name="T9" fmla="*/ 78 h 237"/>
              <a:gd name="T10" fmla="*/ 27 w 287"/>
              <a:gd name="T11" fmla="*/ 78 h 237"/>
              <a:gd name="T12" fmla="*/ 11 w 287"/>
              <a:gd name="T13" fmla="*/ 94 h 237"/>
              <a:gd name="T14" fmla="*/ 27 w 287"/>
              <a:gd name="T15" fmla="*/ 111 h 237"/>
              <a:gd name="T16" fmla="*/ 43 w 287"/>
              <a:gd name="T17" fmla="*/ 94 h 237"/>
              <a:gd name="T18" fmla="*/ 27 w 287"/>
              <a:gd name="T19" fmla="*/ 78 h 237"/>
              <a:gd name="T20" fmla="*/ 212 w 287"/>
              <a:gd name="T21" fmla="*/ 49 h 237"/>
              <a:gd name="T22" fmla="*/ 188 w 287"/>
              <a:gd name="T23" fmla="*/ 73 h 237"/>
              <a:gd name="T24" fmla="*/ 212 w 287"/>
              <a:gd name="T25" fmla="*/ 97 h 237"/>
              <a:gd name="T26" fmla="*/ 236 w 287"/>
              <a:gd name="T27" fmla="*/ 73 h 237"/>
              <a:gd name="T28" fmla="*/ 212 w 287"/>
              <a:gd name="T29" fmla="*/ 49 h 237"/>
              <a:gd name="T30" fmla="*/ 287 w 287"/>
              <a:gd name="T31" fmla="*/ 196 h 237"/>
              <a:gd name="T32" fmla="*/ 259 w 287"/>
              <a:gd name="T33" fmla="*/ 196 h 237"/>
              <a:gd name="T34" fmla="*/ 259 w 287"/>
              <a:gd name="T35" fmla="*/ 145 h 237"/>
              <a:gd name="T36" fmla="*/ 253 w 287"/>
              <a:gd name="T37" fmla="*/ 121 h 237"/>
              <a:gd name="T38" fmla="*/ 260 w 287"/>
              <a:gd name="T39" fmla="*/ 120 h 237"/>
              <a:gd name="T40" fmla="*/ 287 w 287"/>
              <a:gd name="T41" fmla="*/ 147 h 237"/>
              <a:gd name="T42" fmla="*/ 287 w 287"/>
              <a:gd name="T43" fmla="*/ 196 h 237"/>
              <a:gd name="T44" fmla="*/ 75 w 287"/>
              <a:gd name="T45" fmla="*/ 49 h 237"/>
              <a:gd name="T46" fmla="*/ 51 w 287"/>
              <a:gd name="T47" fmla="*/ 73 h 237"/>
              <a:gd name="T48" fmla="*/ 75 w 287"/>
              <a:gd name="T49" fmla="*/ 97 h 237"/>
              <a:gd name="T50" fmla="*/ 99 w 287"/>
              <a:gd name="T51" fmla="*/ 73 h 237"/>
              <a:gd name="T52" fmla="*/ 75 w 287"/>
              <a:gd name="T53" fmla="*/ 49 h 237"/>
              <a:gd name="T54" fmla="*/ 27 w 287"/>
              <a:gd name="T55" fmla="*/ 120 h 237"/>
              <a:gd name="T56" fmla="*/ 34 w 287"/>
              <a:gd name="T57" fmla="*/ 121 h 237"/>
              <a:gd name="T58" fmla="*/ 28 w 287"/>
              <a:gd name="T59" fmla="*/ 145 h 237"/>
              <a:gd name="T60" fmla="*/ 28 w 287"/>
              <a:gd name="T61" fmla="*/ 196 h 237"/>
              <a:gd name="T62" fmla="*/ 0 w 287"/>
              <a:gd name="T63" fmla="*/ 196 h 237"/>
              <a:gd name="T64" fmla="*/ 0 w 287"/>
              <a:gd name="T65" fmla="*/ 147 h 237"/>
              <a:gd name="T66" fmla="*/ 27 w 287"/>
              <a:gd name="T67" fmla="*/ 120 h 237"/>
              <a:gd name="T68" fmla="*/ 144 w 287"/>
              <a:gd name="T69" fmla="*/ 0 h 237"/>
              <a:gd name="T70" fmla="*/ 108 w 287"/>
              <a:gd name="T71" fmla="*/ 36 h 237"/>
              <a:gd name="T72" fmla="*/ 144 w 287"/>
              <a:gd name="T73" fmla="*/ 72 h 237"/>
              <a:gd name="T74" fmla="*/ 179 w 287"/>
              <a:gd name="T75" fmla="*/ 36 h 237"/>
              <a:gd name="T76" fmla="*/ 144 w 287"/>
              <a:gd name="T77" fmla="*/ 0 h 237"/>
              <a:gd name="T78" fmla="*/ 251 w 287"/>
              <a:gd name="T79" fmla="*/ 214 h 237"/>
              <a:gd name="T80" fmla="*/ 208 w 287"/>
              <a:gd name="T81" fmla="*/ 214 h 237"/>
              <a:gd name="T82" fmla="*/ 208 w 287"/>
              <a:gd name="T83" fmla="*/ 137 h 237"/>
              <a:gd name="T84" fmla="*/ 201 w 287"/>
              <a:gd name="T85" fmla="*/ 108 h 237"/>
              <a:gd name="T86" fmla="*/ 212 w 287"/>
              <a:gd name="T87" fmla="*/ 106 h 237"/>
              <a:gd name="T88" fmla="*/ 251 w 287"/>
              <a:gd name="T89" fmla="*/ 145 h 237"/>
              <a:gd name="T90" fmla="*/ 251 w 287"/>
              <a:gd name="T91" fmla="*/ 214 h 237"/>
              <a:gd name="T92" fmla="*/ 79 w 287"/>
              <a:gd name="T93" fmla="*/ 137 h 237"/>
              <a:gd name="T94" fmla="*/ 79 w 287"/>
              <a:gd name="T95" fmla="*/ 214 h 237"/>
              <a:gd name="T96" fmla="*/ 37 w 287"/>
              <a:gd name="T97" fmla="*/ 214 h 237"/>
              <a:gd name="T98" fmla="*/ 37 w 287"/>
              <a:gd name="T99" fmla="*/ 145 h 237"/>
              <a:gd name="T100" fmla="*/ 75 w 287"/>
              <a:gd name="T101" fmla="*/ 106 h 237"/>
              <a:gd name="T102" fmla="*/ 86 w 287"/>
              <a:gd name="T103" fmla="*/ 108 h 237"/>
              <a:gd name="T104" fmla="*/ 79 w 287"/>
              <a:gd name="T105" fmla="*/ 137 h 237"/>
              <a:gd name="T106" fmla="*/ 88 w 287"/>
              <a:gd name="T107" fmla="*/ 237 h 237"/>
              <a:gd name="T108" fmla="*/ 200 w 287"/>
              <a:gd name="T109" fmla="*/ 237 h 237"/>
              <a:gd name="T110" fmla="*/ 200 w 287"/>
              <a:gd name="T111" fmla="*/ 137 h 237"/>
              <a:gd name="T112" fmla="*/ 144 w 287"/>
              <a:gd name="T113" fmla="*/ 81 h 237"/>
              <a:gd name="T114" fmla="*/ 88 w 287"/>
              <a:gd name="T115" fmla="*/ 137 h 237"/>
              <a:gd name="T116" fmla="*/ 88 w 287"/>
              <a:gd name="T117" fmla="*/ 237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7" h="237">
                <a:moveTo>
                  <a:pt x="260" y="78"/>
                </a:moveTo>
                <a:cubicBezTo>
                  <a:pt x="251" y="78"/>
                  <a:pt x="244" y="85"/>
                  <a:pt x="244" y="94"/>
                </a:cubicBezTo>
                <a:cubicBezTo>
                  <a:pt x="244" y="103"/>
                  <a:pt x="251" y="111"/>
                  <a:pt x="260" y="111"/>
                </a:cubicBezTo>
                <a:cubicBezTo>
                  <a:pt x="269" y="111"/>
                  <a:pt x="277" y="103"/>
                  <a:pt x="277" y="94"/>
                </a:cubicBezTo>
                <a:cubicBezTo>
                  <a:pt x="277" y="85"/>
                  <a:pt x="269" y="78"/>
                  <a:pt x="260" y="78"/>
                </a:cubicBezTo>
                <a:close/>
                <a:moveTo>
                  <a:pt x="27" y="78"/>
                </a:moveTo>
                <a:cubicBezTo>
                  <a:pt x="18" y="78"/>
                  <a:pt x="11" y="85"/>
                  <a:pt x="11" y="94"/>
                </a:cubicBezTo>
                <a:cubicBezTo>
                  <a:pt x="11" y="103"/>
                  <a:pt x="18" y="111"/>
                  <a:pt x="27" y="111"/>
                </a:cubicBezTo>
                <a:cubicBezTo>
                  <a:pt x="36" y="111"/>
                  <a:pt x="43" y="103"/>
                  <a:pt x="43" y="94"/>
                </a:cubicBezTo>
                <a:cubicBezTo>
                  <a:pt x="43" y="85"/>
                  <a:pt x="36" y="78"/>
                  <a:pt x="27" y="78"/>
                </a:cubicBezTo>
                <a:close/>
                <a:moveTo>
                  <a:pt x="212" y="49"/>
                </a:moveTo>
                <a:cubicBezTo>
                  <a:pt x="199" y="49"/>
                  <a:pt x="188" y="59"/>
                  <a:pt x="188" y="73"/>
                </a:cubicBezTo>
                <a:cubicBezTo>
                  <a:pt x="188" y="86"/>
                  <a:pt x="199" y="97"/>
                  <a:pt x="212" y="97"/>
                </a:cubicBezTo>
                <a:cubicBezTo>
                  <a:pt x="225" y="97"/>
                  <a:pt x="236" y="86"/>
                  <a:pt x="236" y="73"/>
                </a:cubicBezTo>
                <a:cubicBezTo>
                  <a:pt x="236" y="59"/>
                  <a:pt x="225" y="49"/>
                  <a:pt x="212" y="49"/>
                </a:cubicBezTo>
                <a:close/>
                <a:moveTo>
                  <a:pt x="287" y="196"/>
                </a:moveTo>
                <a:cubicBezTo>
                  <a:pt x="259" y="196"/>
                  <a:pt x="259" y="196"/>
                  <a:pt x="259" y="196"/>
                </a:cubicBezTo>
                <a:cubicBezTo>
                  <a:pt x="259" y="145"/>
                  <a:pt x="259" y="145"/>
                  <a:pt x="259" y="145"/>
                </a:cubicBezTo>
                <a:cubicBezTo>
                  <a:pt x="259" y="136"/>
                  <a:pt x="257" y="128"/>
                  <a:pt x="253" y="121"/>
                </a:cubicBezTo>
                <a:cubicBezTo>
                  <a:pt x="255" y="120"/>
                  <a:pt x="258" y="120"/>
                  <a:pt x="260" y="120"/>
                </a:cubicBezTo>
                <a:cubicBezTo>
                  <a:pt x="275" y="120"/>
                  <a:pt x="287" y="132"/>
                  <a:pt x="287" y="147"/>
                </a:cubicBezTo>
                <a:lnTo>
                  <a:pt x="287" y="196"/>
                </a:lnTo>
                <a:close/>
                <a:moveTo>
                  <a:pt x="75" y="49"/>
                </a:moveTo>
                <a:cubicBezTo>
                  <a:pt x="62" y="49"/>
                  <a:pt x="51" y="59"/>
                  <a:pt x="51" y="73"/>
                </a:cubicBezTo>
                <a:cubicBezTo>
                  <a:pt x="51" y="86"/>
                  <a:pt x="62" y="97"/>
                  <a:pt x="75" y="97"/>
                </a:cubicBezTo>
                <a:cubicBezTo>
                  <a:pt x="88" y="97"/>
                  <a:pt x="99" y="86"/>
                  <a:pt x="99" y="73"/>
                </a:cubicBezTo>
                <a:cubicBezTo>
                  <a:pt x="99" y="59"/>
                  <a:pt x="88" y="49"/>
                  <a:pt x="75" y="49"/>
                </a:cubicBezTo>
                <a:close/>
                <a:moveTo>
                  <a:pt x="27" y="120"/>
                </a:moveTo>
                <a:cubicBezTo>
                  <a:pt x="29" y="120"/>
                  <a:pt x="32" y="120"/>
                  <a:pt x="34" y="121"/>
                </a:cubicBezTo>
                <a:cubicBezTo>
                  <a:pt x="30" y="128"/>
                  <a:pt x="28" y="136"/>
                  <a:pt x="28" y="145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32"/>
                  <a:pt x="12" y="120"/>
                  <a:pt x="27" y="120"/>
                </a:cubicBezTo>
                <a:close/>
                <a:moveTo>
                  <a:pt x="144" y="0"/>
                </a:moveTo>
                <a:cubicBezTo>
                  <a:pt x="124" y="0"/>
                  <a:pt x="108" y="16"/>
                  <a:pt x="108" y="36"/>
                </a:cubicBezTo>
                <a:cubicBezTo>
                  <a:pt x="108" y="56"/>
                  <a:pt x="124" y="72"/>
                  <a:pt x="144" y="72"/>
                </a:cubicBezTo>
                <a:cubicBezTo>
                  <a:pt x="163" y="72"/>
                  <a:pt x="179" y="56"/>
                  <a:pt x="179" y="36"/>
                </a:cubicBezTo>
                <a:cubicBezTo>
                  <a:pt x="179" y="16"/>
                  <a:pt x="163" y="0"/>
                  <a:pt x="144" y="0"/>
                </a:cubicBezTo>
                <a:close/>
                <a:moveTo>
                  <a:pt x="251" y="214"/>
                </a:moveTo>
                <a:cubicBezTo>
                  <a:pt x="208" y="214"/>
                  <a:pt x="208" y="214"/>
                  <a:pt x="208" y="214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27"/>
                  <a:pt x="206" y="117"/>
                  <a:pt x="201" y="108"/>
                </a:cubicBezTo>
                <a:cubicBezTo>
                  <a:pt x="205" y="107"/>
                  <a:pt x="208" y="106"/>
                  <a:pt x="212" y="106"/>
                </a:cubicBezTo>
                <a:cubicBezTo>
                  <a:pt x="233" y="106"/>
                  <a:pt x="251" y="124"/>
                  <a:pt x="251" y="145"/>
                </a:cubicBezTo>
                <a:lnTo>
                  <a:pt x="251" y="214"/>
                </a:lnTo>
                <a:close/>
                <a:moveTo>
                  <a:pt x="79" y="137"/>
                </a:moveTo>
                <a:cubicBezTo>
                  <a:pt x="79" y="214"/>
                  <a:pt x="79" y="214"/>
                  <a:pt x="79" y="214"/>
                </a:cubicBezTo>
                <a:cubicBezTo>
                  <a:pt x="37" y="214"/>
                  <a:pt x="37" y="214"/>
                  <a:pt x="37" y="21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7" y="124"/>
                  <a:pt x="54" y="106"/>
                  <a:pt x="75" y="106"/>
                </a:cubicBezTo>
                <a:cubicBezTo>
                  <a:pt x="79" y="106"/>
                  <a:pt x="83" y="107"/>
                  <a:pt x="86" y="108"/>
                </a:cubicBezTo>
                <a:cubicBezTo>
                  <a:pt x="81" y="117"/>
                  <a:pt x="79" y="127"/>
                  <a:pt x="79" y="137"/>
                </a:cubicBezTo>
                <a:close/>
                <a:moveTo>
                  <a:pt x="88" y="237"/>
                </a:moveTo>
                <a:cubicBezTo>
                  <a:pt x="200" y="237"/>
                  <a:pt x="200" y="237"/>
                  <a:pt x="200" y="237"/>
                </a:cubicBezTo>
                <a:cubicBezTo>
                  <a:pt x="200" y="137"/>
                  <a:pt x="200" y="137"/>
                  <a:pt x="200" y="137"/>
                </a:cubicBezTo>
                <a:cubicBezTo>
                  <a:pt x="200" y="106"/>
                  <a:pt x="174" y="81"/>
                  <a:pt x="144" y="81"/>
                </a:cubicBezTo>
                <a:cubicBezTo>
                  <a:pt x="113" y="81"/>
                  <a:pt x="88" y="106"/>
                  <a:pt x="88" y="137"/>
                </a:cubicBezTo>
                <a:lnTo>
                  <a:pt x="88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897D969-7DA1-4F67-B2A2-3051076E4492}"/>
              </a:ext>
            </a:extLst>
          </p:cNvPr>
          <p:cNvSpPr txBox="1"/>
          <p:nvPr/>
        </p:nvSpPr>
        <p:spPr>
          <a:xfrm>
            <a:off x="5958590" y="3676123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27" name="iṥḻiḑè">
            <a:extLst>
              <a:ext uri="{FF2B5EF4-FFF2-40B4-BE49-F238E27FC236}">
                <a16:creationId xmlns:a16="http://schemas.microsoft.com/office/drawing/2014/main" id="{081D283C-4185-451E-BFB5-C099DDE56E95}"/>
              </a:ext>
            </a:extLst>
          </p:cNvPr>
          <p:cNvSpPr/>
          <p:nvPr/>
        </p:nvSpPr>
        <p:spPr bwMode="auto">
          <a:xfrm>
            <a:off x="8255851" y="2419501"/>
            <a:ext cx="725804" cy="73015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8" name="í$1ïḑé">
            <a:extLst>
              <a:ext uri="{FF2B5EF4-FFF2-40B4-BE49-F238E27FC236}">
                <a16:creationId xmlns:a16="http://schemas.microsoft.com/office/drawing/2014/main" id="{D7084FCF-CEA1-4B05-8F08-BF4D383A2F7A}"/>
              </a:ext>
            </a:extLst>
          </p:cNvPr>
          <p:cNvSpPr/>
          <p:nvPr/>
        </p:nvSpPr>
        <p:spPr bwMode="auto">
          <a:xfrm>
            <a:off x="8367652" y="2576732"/>
            <a:ext cx="502203" cy="415693"/>
          </a:xfrm>
          <a:custGeom>
            <a:avLst/>
            <a:gdLst>
              <a:gd name="T0" fmla="*/ 260 w 287"/>
              <a:gd name="T1" fmla="*/ 78 h 237"/>
              <a:gd name="T2" fmla="*/ 244 w 287"/>
              <a:gd name="T3" fmla="*/ 94 h 237"/>
              <a:gd name="T4" fmla="*/ 260 w 287"/>
              <a:gd name="T5" fmla="*/ 111 h 237"/>
              <a:gd name="T6" fmla="*/ 277 w 287"/>
              <a:gd name="T7" fmla="*/ 94 h 237"/>
              <a:gd name="T8" fmla="*/ 260 w 287"/>
              <a:gd name="T9" fmla="*/ 78 h 237"/>
              <a:gd name="T10" fmla="*/ 27 w 287"/>
              <a:gd name="T11" fmla="*/ 78 h 237"/>
              <a:gd name="T12" fmla="*/ 11 w 287"/>
              <a:gd name="T13" fmla="*/ 94 h 237"/>
              <a:gd name="T14" fmla="*/ 27 w 287"/>
              <a:gd name="T15" fmla="*/ 111 h 237"/>
              <a:gd name="T16" fmla="*/ 43 w 287"/>
              <a:gd name="T17" fmla="*/ 94 h 237"/>
              <a:gd name="T18" fmla="*/ 27 w 287"/>
              <a:gd name="T19" fmla="*/ 78 h 237"/>
              <a:gd name="T20" fmla="*/ 212 w 287"/>
              <a:gd name="T21" fmla="*/ 49 h 237"/>
              <a:gd name="T22" fmla="*/ 188 w 287"/>
              <a:gd name="T23" fmla="*/ 73 h 237"/>
              <a:gd name="T24" fmla="*/ 212 w 287"/>
              <a:gd name="T25" fmla="*/ 97 h 237"/>
              <a:gd name="T26" fmla="*/ 236 w 287"/>
              <a:gd name="T27" fmla="*/ 73 h 237"/>
              <a:gd name="T28" fmla="*/ 212 w 287"/>
              <a:gd name="T29" fmla="*/ 49 h 237"/>
              <a:gd name="T30" fmla="*/ 287 w 287"/>
              <a:gd name="T31" fmla="*/ 196 h 237"/>
              <a:gd name="T32" fmla="*/ 259 w 287"/>
              <a:gd name="T33" fmla="*/ 196 h 237"/>
              <a:gd name="T34" fmla="*/ 259 w 287"/>
              <a:gd name="T35" fmla="*/ 145 h 237"/>
              <a:gd name="T36" fmla="*/ 253 w 287"/>
              <a:gd name="T37" fmla="*/ 121 h 237"/>
              <a:gd name="T38" fmla="*/ 260 w 287"/>
              <a:gd name="T39" fmla="*/ 120 h 237"/>
              <a:gd name="T40" fmla="*/ 287 w 287"/>
              <a:gd name="T41" fmla="*/ 147 h 237"/>
              <a:gd name="T42" fmla="*/ 287 w 287"/>
              <a:gd name="T43" fmla="*/ 196 h 237"/>
              <a:gd name="T44" fmla="*/ 75 w 287"/>
              <a:gd name="T45" fmla="*/ 49 h 237"/>
              <a:gd name="T46" fmla="*/ 51 w 287"/>
              <a:gd name="T47" fmla="*/ 73 h 237"/>
              <a:gd name="T48" fmla="*/ 75 w 287"/>
              <a:gd name="T49" fmla="*/ 97 h 237"/>
              <a:gd name="T50" fmla="*/ 99 w 287"/>
              <a:gd name="T51" fmla="*/ 73 h 237"/>
              <a:gd name="T52" fmla="*/ 75 w 287"/>
              <a:gd name="T53" fmla="*/ 49 h 237"/>
              <a:gd name="T54" fmla="*/ 27 w 287"/>
              <a:gd name="T55" fmla="*/ 120 h 237"/>
              <a:gd name="T56" fmla="*/ 34 w 287"/>
              <a:gd name="T57" fmla="*/ 121 h 237"/>
              <a:gd name="T58" fmla="*/ 28 w 287"/>
              <a:gd name="T59" fmla="*/ 145 h 237"/>
              <a:gd name="T60" fmla="*/ 28 w 287"/>
              <a:gd name="T61" fmla="*/ 196 h 237"/>
              <a:gd name="T62" fmla="*/ 0 w 287"/>
              <a:gd name="T63" fmla="*/ 196 h 237"/>
              <a:gd name="T64" fmla="*/ 0 w 287"/>
              <a:gd name="T65" fmla="*/ 147 h 237"/>
              <a:gd name="T66" fmla="*/ 27 w 287"/>
              <a:gd name="T67" fmla="*/ 120 h 237"/>
              <a:gd name="T68" fmla="*/ 144 w 287"/>
              <a:gd name="T69" fmla="*/ 0 h 237"/>
              <a:gd name="T70" fmla="*/ 108 w 287"/>
              <a:gd name="T71" fmla="*/ 36 h 237"/>
              <a:gd name="T72" fmla="*/ 144 w 287"/>
              <a:gd name="T73" fmla="*/ 72 h 237"/>
              <a:gd name="T74" fmla="*/ 179 w 287"/>
              <a:gd name="T75" fmla="*/ 36 h 237"/>
              <a:gd name="T76" fmla="*/ 144 w 287"/>
              <a:gd name="T77" fmla="*/ 0 h 237"/>
              <a:gd name="T78" fmla="*/ 251 w 287"/>
              <a:gd name="T79" fmla="*/ 214 h 237"/>
              <a:gd name="T80" fmla="*/ 208 w 287"/>
              <a:gd name="T81" fmla="*/ 214 h 237"/>
              <a:gd name="T82" fmla="*/ 208 w 287"/>
              <a:gd name="T83" fmla="*/ 137 h 237"/>
              <a:gd name="T84" fmla="*/ 201 w 287"/>
              <a:gd name="T85" fmla="*/ 108 h 237"/>
              <a:gd name="T86" fmla="*/ 212 w 287"/>
              <a:gd name="T87" fmla="*/ 106 h 237"/>
              <a:gd name="T88" fmla="*/ 251 w 287"/>
              <a:gd name="T89" fmla="*/ 145 h 237"/>
              <a:gd name="T90" fmla="*/ 251 w 287"/>
              <a:gd name="T91" fmla="*/ 214 h 237"/>
              <a:gd name="T92" fmla="*/ 79 w 287"/>
              <a:gd name="T93" fmla="*/ 137 h 237"/>
              <a:gd name="T94" fmla="*/ 79 w 287"/>
              <a:gd name="T95" fmla="*/ 214 h 237"/>
              <a:gd name="T96" fmla="*/ 37 w 287"/>
              <a:gd name="T97" fmla="*/ 214 h 237"/>
              <a:gd name="T98" fmla="*/ 37 w 287"/>
              <a:gd name="T99" fmla="*/ 145 h 237"/>
              <a:gd name="T100" fmla="*/ 75 w 287"/>
              <a:gd name="T101" fmla="*/ 106 h 237"/>
              <a:gd name="T102" fmla="*/ 86 w 287"/>
              <a:gd name="T103" fmla="*/ 108 h 237"/>
              <a:gd name="T104" fmla="*/ 79 w 287"/>
              <a:gd name="T105" fmla="*/ 137 h 237"/>
              <a:gd name="T106" fmla="*/ 88 w 287"/>
              <a:gd name="T107" fmla="*/ 237 h 237"/>
              <a:gd name="T108" fmla="*/ 200 w 287"/>
              <a:gd name="T109" fmla="*/ 237 h 237"/>
              <a:gd name="T110" fmla="*/ 200 w 287"/>
              <a:gd name="T111" fmla="*/ 137 h 237"/>
              <a:gd name="T112" fmla="*/ 144 w 287"/>
              <a:gd name="T113" fmla="*/ 81 h 237"/>
              <a:gd name="T114" fmla="*/ 88 w 287"/>
              <a:gd name="T115" fmla="*/ 137 h 237"/>
              <a:gd name="T116" fmla="*/ 88 w 287"/>
              <a:gd name="T117" fmla="*/ 237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7" h="237">
                <a:moveTo>
                  <a:pt x="260" y="78"/>
                </a:moveTo>
                <a:cubicBezTo>
                  <a:pt x="251" y="78"/>
                  <a:pt x="244" y="85"/>
                  <a:pt x="244" y="94"/>
                </a:cubicBezTo>
                <a:cubicBezTo>
                  <a:pt x="244" y="103"/>
                  <a:pt x="251" y="111"/>
                  <a:pt x="260" y="111"/>
                </a:cubicBezTo>
                <a:cubicBezTo>
                  <a:pt x="269" y="111"/>
                  <a:pt x="277" y="103"/>
                  <a:pt x="277" y="94"/>
                </a:cubicBezTo>
                <a:cubicBezTo>
                  <a:pt x="277" y="85"/>
                  <a:pt x="269" y="78"/>
                  <a:pt x="260" y="78"/>
                </a:cubicBezTo>
                <a:close/>
                <a:moveTo>
                  <a:pt x="27" y="78"/>
                </a:moveTo>
                <a:cubicBezTo>
                  <a:pt x="18" y="78"/>
                  <a:pt x="11" y="85"/>
                  <a:pt x="11" y="94"/>
                </a:cubicBezTo>
                <a:cubicBezTo>
                  <a:pt x="11" y="103"/>
                  <a:pt x="18" y="111"/>
                  <a:pt x="27" y="111"/>
                </a:cubicBezTo>
                <a:cubicBezTo>
                  <a:pt x="36" y="111"/>
                  <a:pt x="43" y="103"/>
                  <a:pt x="43" y="94"/>
                </a:cubicBezTo>
                <a:cubicBezTo>
                  <a:pt x="43" y="85"/>
                  <a:pt x="36" y="78"/>
                  <a:pt x="27" y="78"/>
                </a:cubicBezTo>
                <a:close/>
                <a:moveTo>
                  <a:pt x="212" y="49"/>
                </a:moveTo>
                <a:cubicBezTo>
                  <a:pt x="199" y="49"/>
                  <a:pt x="188" y="59"/>
                  <a:pt x="188" y="73"/>
                </a:cubicBezTo>
                <a:cubicBezTo>
                  <a:pt x="188" y="86"/>
                  <a:pt x="199" y="97"/>
                  <a:pt x="212" y="97"/>
                </a:cubicBezTo>
                <a:cubicBezTo>
                  <a:pt x="225" y="97"/>
                  <a:pt x="236" y="86"/>
                  <a:pt x="236" y="73"/>
                </a:cubicBezTo>
                <a:cubicBezTo>
                  <a:pt x="236" y="59"/>
                  <a:pt x="225" y="49"/>
                  <a:pt x="212" y="49"/>
                </a:cubicBezTo>
                <a:close/>
                <a:moveTo>
                  <a:pt x="287" y="196"/>
                </a:moveTo>
                <a:cubicBezTo>
                  <a:pt x="259" y="196"/>
                  <a:pt x="259" y="196"/>
                  <a:pt x="259" y="196"/>
                </a:cubicBezTo>
                <a:cubicBezTo>
                  <a:pt x="259" y="145"/>
                  <a:pt x="259" y="145"/>
                  <a:pt x="259" y="145"/>
                </a:cubicBezTo>
                <a:cubicBezTo>
                  <a:pt x="259" y="136"/>
                  <a:pt x="257" y="128"/>
                  <a:pt x="253" y="121"/>
                </a:cubicBezTo>
                <a:cubicBezTo>
                  <a:pt x="255" y="120"/>
                  <a:pt x="258" y="120"/>
                  <a:pt x="260" y="120"/>
                </a:cubicBezTo>
                <a:cubicBezTo>
                  <a:pt x="275" y="120"/>
                  <a:pt x="287" y="132"/>
                  <a:pt x="287" y="147"/>
                </a:cubicBezTo>
                <a:lnTo>
                  <a:pt x="287" y="196"/>
                </a:lnTo>
                <a:close/>
                <a:moveTo>
                  <a:pt x="75" y="49"/>
                </a:moveTo>
                <a:cubicBezTo>
                  <a:pt x="62" y="49"/>
                  <a:pt x="51" y="59"/>
                  <a:pt x="51" y="73"/>
                </a:cubicBezTo>
                <a:cubicBezTo>
                  <a:pt x="51" y="86"/>
                  <a:pt x="62" y="97"/>
                  <a:pt x="75" y="97"/>
                </a:cubicBezTo>
                <a:cubicBezTo>
                  <a:pt x="88" y="97"/>
                  <a:pt x="99" y="86"/>
                  <a:pt x="99" y="73"/>
                </a:cubicBezTo>
                <a:cubicBezTo>
                  <a:pt x="99" y="59"/>
                  <a:pt x="88" y="49"/>
                  <a:pt x="75" y="49"/>
                </a:cubicBezTo>
                <a:close/>
                <a:moveTo>
                  <a:pt x="27" y="120"/>
                </a:moveTo>
                <a:cubicBezTo>
                  <a:pt x="29" y="120"/>
                  <a:pt x="32" y="120"/>
                  <a:pt x="34" y="121"/>
                </a:cubicBezTo>
                <a:cubicBezTo>
                  <a:pt x="30" y="128"/>
                  <a:pt x="28" y="136"/>
                  <a:pt x="28" y="145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32"/>
                  <a:pt x="12" y="120"/>
                  <a:pt x="27" y="120"/>
                </a:cubicBezTo>
                <a:close/>
                <a:moveTo>
                  <a:pt x="144" y="0"/>
                </a:moveTo>
                <a:cubicBezTo>
                  <a:pt x="124" y="0"/>
                  <a:pt x="108" y="16"/>
                  <a:pt x="108" y="36"/>
                </a:cubicBezTo>
                <a:cubicBezTo>
                  <a:pt x="108" y="56"/>
                  <a:pt x="124" y="72"/>
                  <a:pt x="144" y="72"/>
                </a:cubicBezTo>
                <a:cubicBezTo>
                  <a:pt x="163" y="72"/>
                  <a:pt x="179" y="56"/>
                  <a:pt x="179" y="36"/>
                </a:cubicBezTo>
                <a:cubicBezTo>
                  <a:pt x="179" y="16"/>
                  <a:pt x="163" y="0"/>
                  <a:pt x="144" y="0"/>
                </a:cubicBezTo>
                <a:close/>
                <a:moveTo>
                  <a:pt x="251" y="214"/>
                </a:moveTo>
                <a:cubicBezTo>
                  <a:pt x="208" y="214"/>
                  <a:pt x="208" y="214"/>
                  <a:pt x="208" y="214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27"/>
                  <a:pt x="206" y="117"/>
                  <a:pt x="201" y="108"/>
                </a:cubicBezTo>
                <a:cubicBezTo>
                  <a:pt x="205" y="107"/>
                  <a:pt x="208" y="106"/>
                  <a:pt x="212" y="106"/>
                </a:cubicBezTo>
                <a:cubicBezTo>
                  <a:pt x="233" y="106"/>
                  <a:pt x="251" y="124"/>
                  <a:pt x="251" y="145"/>
                </a:cubicBezTo>
                <a:lnTo>
                  <a:pt x="251" y="214"/>
                </a:lnTo>
                <a:close/>
                <a:moveTo>
                  <a:pt x="79" y="137"/>
                </a:moveTo>
                <a:cubicBezTo>
                  <a:pt x="79" y="214"/>
                  <a:pt x="79" y="214"/>
                  <a:pt x="79" y="214"/>
                </a:cubicBezTo>
                <a:cubicBezTo>
                  <a:pt x="37" y="214"/>
                  <a:pt x="37" y="214"/>
                  <a:pt x="37" y="21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7" y="124"/>
                  <a:pt x="54" y="106"/>
                  <a:pt x="75" y="106"/>
                </a:cubicBezTo>
                <a:cubicBezTo>
                  <a:pt x="79" y="106"/>
                  <a:pt x="83" y="107"/>
                  <a:pt x="86" y="108"/>
                </a:cubicBezTo>
                <a:cubicBezTo>
                  <a:pt x="81" y="117"/>
                  <a:pt x="79" y="127"/>
                  <a:pt x="79" y="137"/>
                </a:cubicBezTo>
                <a:close/>
                <a:moveTo>
                  <a:pt x="88" y="237"/>
                </a:moveTo>
                <a:cubicBezTo>
                  <a:pt x="200" y="237"/>
                  <a:pt x="200" y="237"/>
                  <a:pt x="200" y="237"/>
                </a:cubicBezTo>
                <a:cubicBezTo>
                  <a:pt x="200" y="137"/>
                  <a:pt x="200" y="137"/>
                  <a:pt x="200" y="137"/>
                </a:cubicBezTo>
                <a:cubicBezTo>
                  <a:pt x="200" y="106"/>
                  <a:pt x="174" y="81"/>
                  <a:pt x="144" y="81"/>
                </a:cubicBezTo>
                <a:cubicBezTo>
                  <a:pt x="113" y="81"/>
                  <a:pt x="88" y="106"/>
                  <a:pt x="88" y="137"/>
                </a:cubicBezTo>
                <a:lnTo>
                  <a:pt x="88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DF78391-1693-45DB-BDE4-5598E952ABC3}"/>
              </a:ext>
            </a:extLst>
          </p:cNvPr>
          <p:cNvSpPr txBox="1"/>
          <p:nvPr/>
        </p:nvSpPr>
        <p:spPr>
          <a:xfrm>
            <a:off x="9148639" y="2283234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30" name="iṥḻiḑè">
            <a:extLst>
              <a:ext uri="{FF2B5EF4-FFF2-40B4-BE49-F238E27FC236}">
                <a16:creationId xmlns:a16="http://schemas.microsoft.com/office/drawing/2014/main" id="{AD0813CE-1561-419E-BDB7-E43C6D218AB8}"/>
              </a:ext>
            </a:extLst>
          </p:cNvPr>
          <p:cNvSpPr/>
          <p:nvPr/>
        </p:nvSpPr>
        <p:spPr bwMode="auto">
          <a:xfrm>
            <a:off x="8255851" y="3812390"/>
            <a:ext cx="725804" cy="73015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1" name="í$1ïḑé">
            <a:extLst>
              <a:ext uri="{FF2B5EF4-FFF2-40B4-BE49-F238E27FC236}">
                <a16:creationId xmlns:a16="http://schemas.microsoft.com/office/drawing/2014/main" id="{3DE85EFB-1B95-4976-8FB2-2800461034D9}"/>
              </a:ext>
            </a:extLst>
          </p:cNvPr>
          <p:cNvSpPr/>
          <p:nvPr/>
        </p:nvSpPr>
        <p:spPr bwMode="auto">
          <a:xfrm>
            <a:off x="8367652" y="3969621"/>
            <a:ext cx="502203" cy="415693"/>
          </a:xfrm>
          <a:custGeom>
            <a:avLst/>
            <a:gdLst>
              <a:gd name="T0" fmla="*/ 260 w 287"/>
              <a:gd name="T1" fmla="*/ 78 h 237"/>
              <a:gd name="T2" fmla="*/ 244 w 287"/>
              <a:gd name="T3" fmla="*/ 94 h 237"/>
              <a:gd name="T4" fmla="*/ 260 w 287"/>
              <a:gd name="T5" fmla="*/ 111 h 237"/>
              <a:gd name="T6" fmla="*/ 277 w 287"/>
              <a:gd name="T7" fmla="*/ 94 h 237"/>
              <a:gd name="T8" fmla="*/ 260 w 287"/>
              <a:gd name="T9" fmla="*/ 78 h 237"/>
              <a:gd name="T10" fmla="*/ 27 w 287"/>
              <a:gd name="T11" fmla="*/ 78 h 237"/>
              <a:gd name="T12" fmla="*/ 11 w 287"/>
              <a:gd name="T13" fmla="*/ 94 h 237"/>
              <a:gd name="T14" fmla="*/ 27 w 287"/>
              <a:gd name="T15" fmla="*/ 111 h 237"/>
              <a:gd name="T16" fmla="*/ 43 w 287"/>
              <a:gd name="T17" fmla="*/ 94 h 237"/>
              <a:gd name="T18" fmla="*/ 27 w 287"/>
              <a:gd name="T19" fmla="*/ 78 h 237"/>
              <a:gd name="T20" fmla="*/ 212 w 287"/>
              <a:gd name="T21" fmla="*/ 49 h 237"/>
              <a:gd name="T22" fmla="*/ 188 w 287"/>
              <a:gd name="T23" fmla="*/ 73 h 237"/>
              <a:gd name="T24" fmla="*/ 212 w 287"/>
              <a:gd name="T25" fmla="*/ 97 h 237"/>
              <a:gd name="T26" fmla="*/ 236 w 287"/>
              <a:gd name="T27" fmla="*/ 73 h 237"/>
              <a:gd name="T28" fmla="*/ 212 w 287"/>
              <a:gd name="T29" fmla="*/ 49 h 237"/>
              <a:gd name="T30" fmla="*/ 287 w 287"/>
              <a:gd name="T31" fmla="*/ 196 h 237"/>
              <a:gd name="T32" fmla="*/ 259 w 287"/>
              <a:gd name="T33" fmla="*/ 196 h 237"/>
              <a:gd name="T34" fmla="*/ 259 w 287"/>
              <a:gd name="T35" fmla="*/ 145 h 237"/>
              <a:gd name="T36" fmla="*/ 253 w 287"/>
              <a:gd name="T37" fmla="*/ 121 h 237"/>
              <a:gd name="T38" fmla="*/ 260 w 287"/>
              <a:gd name="T39" fmla="*/ 120 h 237"/>
              <a:gd name="T40" fmla="*/ 287 w 287"/>
              <a:gd name="T41" fmla="*/ 147 h 237"/>
              <a:gd name="T42" fmla="*/ 287 w 287"/>
              <a:gd name="T43" fmla="*/ 196 h 237"/>
              <a:gd name="T44" fmla="*/ 75 w 287"/>
              <a:gd name="T45" fmla="*/ 49 h 237"/>
              <a:gd name="T46" fmla="*/ 51 w 287"/>
              <a:gd name="T47" fmla="*/ 73 h 237"/>
              <a:gd name="T48" fmla="*/ 75 w 287"/>
              <a:gd name="T49" fmla="*/ 97 h 237"/>
              <a:gd name="T50" fmla="*/ 99 w 287"/>
              <a:gd name="T51" fmla="*/ 73 h 237"/>
              <a:gd name="T52" fmla="*/ 75 w 287"/>
              <a:gd name="T53" fmla="*/ 49 h 237"/>
              <a:gd name="T54" fmla="*/ 27 w 287"/>
              <a:gd name="T55" fmla="*/ 120 h 237"/>
              <a:gd name="T56" fmla="*/ 34 w 287"/>
              <a:gd name="T57" fmla="*/ 121 h 237"/>
              <a:gd name="T58" fmla="*/ 28 w 287"/>
              <a:gd name="T59" fmla="*/ 145 h 237"/>
              <a:gd name="T60" fmla="*/ 28 w 287"/>
              <a:gd name="T61" fmla="*/ 196 h 237"/>
              <a:gd name="T62" fmla="*/ 0 w 287"/>
              <a:gd name="T63" fmla="*/ 196 h 237"/>
              <a:gd name="T64" fmla="*/ 0 w 287"/>
              <a:gd name="T65" fmla="*/ 147 h 237"/>
              <a:gd name="T66" fmla="*/ 27 w 287"/>
              <a:gd name="T67" fmla="*/ 120 h 237"/>
              <a:gd name="T68" fmla="*/ 144 w 287"/>
              <a:gd name="T69" fmla="*/ 0 h 237"/>
              <a:gd name="T70" fmla="*/ 108 w 287"/>
              <a:gd name="T71" fmla="*/ 36 h 237"/>
              <a:gd name="T72" fmla="*/ 144 w 287"/>
              <a:gd name="T73" fmla="*/ 72 h 237"/>
              <a:gd name="T74" fmla="*/ 179 w 287"/>
              <a:gd name="T75" fmla="*/ 36 h 237"/>
              <a:gd name="T76" fmla="*/ 144 w 287"/>
              <a:gd name="T77" fmla="*/ 0 h 237"/>
              <a:gd name="T78" fmla="*/ 251 w 287"/>
              <a:gd name="T79" fmla="*/ 214 h 237"/>
              <a:gd name="T80" fmla="*/ 208 w 287"/>
              <a:gd name="T81" fmla="*/ 214 h 237"/>
              <a:gd name="T82" fmla="*/ 208 w 287"/>
              <a:gd name="T83" fmla="*/ 137 h 237"/>
              <a:gd name="T84" fmla="*/ 201 w 287"/>
              <a:gd name="T85" fmla="*/ 108 h 237"/>
              <a:gd name="T86" fmla="*/ 212 w 287"/>
              <a:gd name="T87" fmla="*/ 106 h 237"/>
              <a:gd name="T88" fmla="*/ 251 w 287"/>
              <a:gd name="T89" fmla="*/ 145 h 237"/>
              <a:gd name="T90" fmla="*/ 251 w 287"/>
              <a:gd name="T91" fmla="*/ 214 h 237"/>
              <a:gd name="T92" fmla="*/ 79 w 287"/>
              <a:gd name="T93" fmla="*/ 137 h 237"/>
              <a:gd name="T94" fmla="*/ 79 w 287"/>
              <a:gd name="T95" fmla="*/ 214 h 237"/>
              <a:gd name="T96" fmla="*/ 37 w 287"/>
              <a:gd name="T97" fmla="*/ 214 h 237"/>
              <a:gd name="T98" fmla="*/ 37 w 287"/>
              <a:gd name="T99" fmla="*/ 145 h 237"/>
              <a:gd name="T100" fmla="*/ 75 w 287"/>
              <a:gd name="T101" fmla="*/ 106 h 237"/>
              <a:gd name="T102" fmla="*/ 86 w 287"/>
              <a:gd name="T103" fmla="*/ 108 h 237"/>
              <a:gd name="T104" fmla="*/ 79 w 287"/>
              <a:gd name="T105" fmla="*/ 137 h 237"/>
              <a:gd name="T106" fmla="*/ 88 w 287"/>
              <a:gd name="T107" fmla="*/ 237 h 237"/>
              <a:gd name="T108" fmla="*/ 200 w 287"/>
              <a:gd name="T109" fmla="*/ 237 h 237"/>
              <a:gd name="T110" fmla="*/ 200 w 287"/>
              <a:gd name="T111" fmla="*/ 137 h 237"/>
              <a:gd name="T112" fmla="*/ 144 w 287"/>
              <a:gd name="T113" fmla="*/ 81 h 237"/>
              <a:gd name="T114" fmla="*/ 88 w 287"/>
              <a:gd name="T115" fmla="*/ 137 h 237"/>
              <a:gd name="T116" fmla="*/ 88 w 287"/>
              <a:gd name="T117" fmla="*/ 237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7" h="237">
                <a:moveTo>
                  <a:pt x="260" y="78"/>
                </a:moveTo>
                <a:cubicBezTo>
                  <a:pt x="251" y="78"/>
                  <a:pt x="244" y="85"/>
                  <a:pt x="244" y="94"/>
                </a:cubicBezTo>
                <a:cubicBezTo>
                  <a:pt x="244" y="103"/>
                  <a:pt x="251" y="111"/>
                  <a:pt x="260" y="111"/>
                </a:cubicBezTo>
                <a:cubicBezTo>
                  <a:pt x="269" y="111"/>
                  <a:pt x="277" y="103"/>
                  <a:pt x="277" y="94"/>
                </a:cubicBezTo>
                <a:cubicBezTo>
                  <a:pt x="277" y="85"/>
                  <a:pt x="269" y="78"/>
                  <a:pt x="260" y="78"/>
                </a:cubicBezTo>
                <a:close/>
                <a:moveTo>
                  <a:pt x="27" y="78"/>
                </a:moveTo>
                <a:cubicBezTo>
                  <a:pt x="18" y="78"/>
                  <a:pt x="11" y="85"/>
                  <a:pt x="11" y="94"/>
                </a:cubicBezTo>
                <a:cubicBezTo>
                  <a:pt x="11" y="103"/>
                  <a:pt x="18" y="111"/>
                  <a:pt x="27" y="111"/>
                </a:cubicBezTo>
                <a:cubicBezTo>
                  <a:pt x="36" y="111"/>
                  <a:pt x="43" y="103"/>
                  <a:pt x="43" y="94"/>
                </a:cubicBezTo>
                <a:cubicBezTo>
                  <a:pt x="43" y="85"/>
                  <a:pt x="36" y="78"/>
                  <a:pt x="27" y="78"/>
                </a:cubicBezTo>
                <a:close/>
                <a:moveTo>
                  <a:pt x="212" y="49"/>
                </a:moveTo>
                <a:cubicBezTo>
                  <a:pt x="199" y="49"/>
                  <a:pt x="188" y="59"/>
                  <a:pt x="188" y="73"/>
                </a:cubicBezTo>
                <a:cubicBezTo>
                  <a:pt x="188" y="86"/>
                  <a:pt x="199" y="97"/>
                  <a:pt x="212" y="97"/>
                </a:cubicBezTo>
                <a:cubicBezTo>
                  <a:pt x="225" y="97"/>
                  <a:pt x="236" y="86"/>
                  <a:pt x="236" y="73"/>
                </a:cubicBezTo>
                <a:cubicBezTo>
                  <a:pt x="236" y="59"/>
                  <a:pt x="225" y="49"/>
                  <a:pt x="212" y="49"/>
                </a:cubicBezTo>
                <a:close/>
                <a:moveTo>
                  <a:pt x="287" y="196"/>
                </a:moveTo>
                <a:cubicBezTo>
                  <a:pt x="259" y="196"/>
                  <a:pt x="259" y="196"/>
                  <a:pt x="259" y="196"/>
                </a:cubicBezTo>
                <a:cubicBezTo>
                  <a:pt x="259" y="145"/>
                  <a:pt x="259" y="145"/>
                  <a:pt x="259" y="145"/>
                </a:cubicBezTo>
                <a:cubicBezTo>
                  <a:pt x="259" y="136"/>
                  <a:pt x="257" y="128"/>
                  <a:pt x="253" y="121"/>
                </a:cubicBezTo>
                <a:cubicBezTo>
                  <a:pt x="255" y="120"/>
                  <a:pt x="258" y="120"/>
                  <a:pt x="260" y="120"/>
                </a:cubicBezTo>
                <a:cubicBezTo>
                  <a:pt x="275" y="120"/>
                  <a:pt x="287" y="132"/>
                  <a:pt x="287" y="147"/>
                </a:cubicBezTo>
                <a:lnTo>
                  <a:pt x="287" y="196"/>
                </a:lnTo>
                <a:close/>
                <a:moveTo>
                  <a:pt x="75" y="49"/>
                </a:moveTo>
                <a:cubicBezTo>
                  <a:pt x="62" y="49"/>
                  <a:pt x="51" y="59"/>
                  <a:pt x="51" y="73"/>
                </a:cubicBezTo>
                <a:cubicBezTo>
                  <a:pt x="51" y="86"/>
                  <a:pt x="62" y="97"/>
                  <a:pt x="75" y="97"/>
                </a:cubicBezTo>
                <a:cubicBezTo>
                  <a:pt x="88" y="97"/>
                  <a:pt x="99" y="86"/>
                  <a:pt x="99" y="73"/>
                </a:cubicBezTo>
                <a:cubicBezTo>
                  <a:pt x="99" y="59"/>
                  <a:pt x="88" y="49"/>
                  <a:pt x="75" y="49"/>
                </a:cubicBezTo>
                <a:close/>
                <a:moveTo>
                  <a:pt x="27" y="120"/>
                </a:moveTo>
                <a:cubicBezTo>
                  <a:pt x="29" y="120"/>
                  <a:pt x="32" y="120"/>
                  <a:pt x="34" y="121"/>
                </a:cubicBezTo>
                <a:cubicBezTo>
                  <a:pt x="30" y="128"/>
                  <a:pt x="28" y="136"/>
                  <a:pt x="28" y="145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32"/>
                  <a:pt x="12" y="120"/>
                  <a:pt x="27" y="120"/>
                </a:cubicBezTo>
                <a:close/>
                <a:moveTo>
                  <a:pt x="144" y="0"/>
                </a:moveTo>
                <a:cubicBezTo>
                  <a:pt x="124" y="0"/>
                  <a:pt x="108" y="16"/>
                  <a:pt x="108" y="36"/>
                </a:cubicBezTo>
                <a:cubicBezTo>
                  <a:pt x="108" y="56"/>
                  <a:pt x="124" y="72"/>
                  <a:pt x="144" y="72"/>
                </a:cubicBezTo>
                <a:cubicBezTo>
                  <a:pt x="163" y="72"/>
                  <a:pt x="179" y="56"/>
                  <a:pt x="179" y="36"/>
                </a:cubicBezTo>
                <a:cubicBezTo>
                  <a:pt x="179" y="16"/>
                  <a:pt x="163" y="0"/>
                  <a:pt x="144" y="0"/>
                </a:cubicBezTo>
                <a:close/>
                <a:moveTo>
                  <a:pt x="251" y="214"/>
                </a:moveTo>
                <a:cubicBezTo>
                  <a:pt x="208" y="214"/>
                  <a:pt x="208" y="214"/>
                  <a:pt x="208" y="214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27"/>
                  <a:pt x="206" y="117"/>
                  <a:pt x="201" y="108"/>
                </a:cubicBezTo>
                <a:cubicBezTo>
                  <a:pt x="205" y="107"/>
                  <a:pt x="208" y="106"/>
                  <a:pt x="212" y="106"/>
                </a:cubicBezTo>
                <a:cubicBezTo>
                  <a:pt x="233" y="106"/>
                  <a:pt x="251" y="124"/>
                  <a:pt x="251" y="145"/>
                </a:cubicBezTo>
                <a:lnTo>
                  <a:pt x="251" y="214"/>
                </a:lnTo>
                <a:close/>
                <a:moveTo>
                  <a:pt x="79" y="137"/>
                </a:moveTo>
                <a:cubicBezTo>
                  <a:pt x="79" y="214"/>
                  <a:pt x="79" y="214"/>
                  <a:pt x="79" y="214"/>
                </a:cubicBezTo>
                <a:cubicBezTo>
                  <a:pt x="37" y="214"/>
                  <a:pt x="37" y="214"/>
                  <a:pt x="37" y="21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7" y="124"/>
                  <a:pt x="54" y="106"/>
                  <a:pt x="75" y="106"/>
                </a:cubicBezTo>
                <a:cubicBezTo>
                  <a:pt x="79" y="106"/>
                  <a:pt x="83" y="107"/>
                  <a:pt x="86" y="108"/>
                </a:cubicBezTo>
                <a:cubicBezTo>
                  <a:pt x="81" y="117"/>
                  <a:pt x="79" y="127"/>
                  <a:pt x="79" y="137"/>
                </a:cubicBezTo>
                <a:close/>
                <a:moveTo>
                  <a:pt x="88" y="237"/>
                </a:moveTo>
                <a:cubicBezTo>
                  <a:pt x="200" y="237"/>
                  <a:pt x="200" y="237"/>
                  <a:pt x="200" y="237"/>
                </a:cubicBezTo>
                <a:cubicBezTo>
                  <a:pt x="200" y="137"/>
                  <a:pt x="200" y="137"/>
                  <a:pt x="200" y="137"/>
                </a:cubicBezTo>
                <a:cubicBezTo>
                  <a:pt x="200" y="106"/>
                  <a:pt x="174" y="81"/>
                  <a:pt x="144" y="81"/>
                </a:cubicBezTo>
                <a:cubicBezTo>
                  <a:pt x="113" y="81"/>
                  <a:pt x="88" y="106"/>
                  <a:pt x="88" y="137"/>
                </a:cubicBezTo>
                <a:lnTo>
                  <a:pt x="88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45782AE-32F7-414D-A313-FEC54A8728D4}"/>
              </a:ext>
            </a:extLst>
          </p:cNvPr>
          <p:cNvSpPr txBox="1"/>
          <p:nvPr/>
        </p:nvSpPr>
        <p:spPr>
          <a:xfrm>
            <a:off x="9148639" y="3676123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33" name="iṥḻiḑè">
            <a:extLst>
              <a:ext uri="{FF2B5EF4-FFF2-40B4-BE49-F238E27FC236}">
                <a16:creationId xmlns:a16="http://schemas.microsoft.com/office/drawing/2014/main" id="{E245494B-9B60-4745-A1D3-A5230C6C66D6}"/>
              </a:ext>
            </a:extLst>
          </p:cNvPr>
          <p:cNvSpPr/>
          <p:nvPr/>
        </p:nvSpPr>
        <p:spPr bwMode="auto">
          <a:xfrm>
            <a:off x="5065802" y="5169556"/>
            <a:ext cx="725804" cy="73015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4" name="í$1ïḑé">
            <a:extLst>
              <a:ext uri="{FF2B5EF4-FFF2-40B4-BE49-F238E27FC236}">
                <a16:creationId xmlns:a16="http://schemas.microsoft.com/office/drawing/2014/main" id="{47CDA808-7229-4E3D-BBF0-9F002ACAA450}"/>
              </a:ext>
            </a:extLst>
          </p:cNvPr>
          <p:cNvSpPr/>
          <p:nvPr/>
        </p:nvSpPr>
        <p:spPr bwMode="auto">
          <a:xfrm>
            <a:off x="5177603" y="5326787"/>
            <a:ext cx="502203" cy="415693"/>
          </a:xfrm>
          <a:custGeom>
            <a:avLst/>
            <a:gdLst>
              <a:gd name="T0" fmla="*/ 260 w 287"/>
              <a:gd name="T1" fmla="*/ 78 h 237"/>
              <a:gd name="T2" fmla="*/ 244 w 287"/>
              <a:gd name="T3" fmla="*/ 94 h 237"/>
              <a:gd name="T4" fmla="*/ 260 w 287"/>
              <a:gd name="T5" fmla="*/ 111 h 237"/>
              <a:gd name="T6" fmla="*/ 277 w 287"/>
              <a:gd name="T7" fmla="*/ 94 h 237"/>
              <a:gd name="T8" fmla="*/ 260 w 287"/>
              <a:gd name="T9" fmla="*/ 78 h 237"/>
              <a:gd name="T10" fmla="*/ 27 w 287"/>
              <a:gd name="T11" fmla="*/ 78 h 237"/>
              <a:gd name="T12" fmla="*/ 11 w 287"/>
              <a:gd name="T13" fmla="*/ 94 h 237"/>
              <a:gd name="T14" fmla="*/ 27 w 287"/>
              <a:gd name="T15" fmla="*/ 111 h 237"/>
              <a:gd name="T16" fmla="*/ 43 w 287"/>
              <a:gd name="T17" fmla="*/ 94 h 237"/>
              <a:gd name="T18" fmla="*/ 27 w 287"/>
              <a:gd name="T19" fmla="*/ 78 h 237"/>
              <a:gd name="T20" fmla="*/ 212 w 287"/>
              <a:gd name="T21" fmla="*/ 49 h 237"/>
              <a:gd name="T22" fmla="*/ 188 w 287"/>
              <a:gd name="T23" fmla="*/ 73 h 237"/>
              <a:gd name="T24" fmla="*/ 212 w 287"/>
              <a:gd name="T25" fmla="*/ 97 h 237"/>
              <a:gd name="T26" fmla="*/ 236 w 287"/>
              <a:gd name="T27" fmla="*/ 73 h 237"/>
              <a:gd name="T28" fmla="*/ 212 w 287"/>
              <a:gd name="T29" fmla="*/ 49 h 237"/>
              <a:gd name="T30" fmla="*/ 287 w 287"/>
              <a:gd name="T31" fmla="*/ 196 h 237"/>
              <a:gd name="T32" fmla="*/ 259 w 287"/>
              <a:gd name="T33" fmla="*/ 196 h 237"/>
              <a:gd name="T34" fmla="*/ 259 w 287"/>
              <a:gd name="T35" fmla="*/ 145 h 237"/>
              <a:gd name="T36" fmla="*/ 253 w 287"/>
              <a:gd name="T37" fmla="*/ 121 h 237"/>
              <a:gd name="T38" fmla="*/ 260 w 287"/>
              <a:gd name="T39" fmla="*/ 120 h 237"/>
              <a:gd name="T40" fmla="*/ 287 w 287"/>
              <a:gd name="T41" fmla="*/ 147 h 237"/>
              <a:gd name="T42" fmla="*/ 287 w 287"/>
              <a:gd name="T43" fmla="*/ 196 h 237"/>
              <a:gd name="T44" fmla="*/ 75 w 287"/>
              <a:gd name="T45" fmla="*/ 49 h 237"/>
              <a:gd name="T46" fmla="*/ 51 w 287"/>
              <a:gd name="T47" fmla="*/ 73 h 237"/>
              <a:gd name="T48" fmla="*/ 75 w 287"/>
              <a:gd name="T49" fmla="*/ 97 h 237"/>
              <a:gd name="T50" fmla="*/ 99 w 287"/>
              <a:gd name="T51" fmla="*/ 73 h 237"/>
              <a:gd name="T52" fmla="*/ 75 w 287"/>
              <a:gd name="T53" fmla="*/ 49 h 237"/>
              <a:gd name="T54" fmla="*/ 27 w 287"/>
              <a:gd name="T55" fmla="*/ 120 h 237"/>
              <a:gd name="T56" fmla="*/ 34 w 287"/>
              <a:gd name="T57" fmla="*/ 121 h 237"/>
              <a:gd name="T58" fmla="*/ 28 w 287"/>
              <a:gd name="T59" fmla="*/ 145 h 237"/>
              <a:gd name="T60" fmla="*/ 28 w 287"/>
              <a:gd name="T61" fmla="*/ 196 h 237"/>
              <a:gd name="T62" fmla="*/ 0 w 287"/>
              <a:gd name="T63" fmla="*/ 196 h 237"/>
              <a:gd name="T64" fmla="*/ 0 w 287"/>
              <a:gd name="T65" fmla="*/ 147 h 237"/>
              <a:gd name="T66" fmla="*/ 27 w 287"/>
              <a:gd name="T67" fmla="*/ 120 h 237"/>
              <a:gd name="T68" fmla="*/ 144 w 287"/>
              <a:gd name="T69" fmla="*/ 0 h 237"/>
              <a:gd name="T70" fmla="*/ 108 w 287"/>
              <a:gd name="T71" fmla="*/ 36 h 237"/>
              <a:gd name="T72" fmla="*/ 144 w 287"/>
              <a:gd name="T73" fmla="*/ 72 h 237"/>
              <a:gd name="T74" fmla="*/ 179 w 287"/>
              <a:gd name="T75" fmla="*/ 36 h 237"/>
              <a:gd name="T76" fmla="*/ 144 w 287"/>
              <a:gd name="T77" fmla="*/ 0 h 237"/>
              <a:gd name="T78" fmla="*/ 251 w 287"/>
              <a:gd name="T79" fmla="*/ 214 h 237"/>
              <a:gd name="T80" fmla="*/ 208 w 287"/>
              <a:gd name="T81" fmla="*/ 214 h 237"/>
              <a:gd name="T82" fmla="*/ 208 w 287"/>
              <a:gd name="T83" fmla="*/ 137 h 237"/>
              <a:gd name="T84" fmla="*/ 201 w 287"/>
              <a:gd name="T85" fmla="*/ 108 h 237"/>
              <a:gd name="T86" fmla="*/ 212 w 287"/>
              <a:gd name="T87" fmla="*/ 106 h 237"/>
              <a:gd name="T88" fmla="*/ 251 w 287"/>
              <a:gd name="T89" fmla="*/ 145 h 237"/>
              <a:gd name="T90" fmla="*/ 251 w 287"/>
              <a:gd name="T91" fmla="*/ 214 h 237"/>
              <a:gd name="T92" fmla="*/ 79 w 287"/>
              <a:gd name="T93" fmla="*/ 137 h 237"/>
              <a:gd name="T94" fmla="*/ 79 w 287"/>
              <a:gd name="T95" fmla="*/ 214 h 237"/>
              <a:gd name="T96" fmla="*/ 37 w 287"/>
              <a:gd name="T97" fmla="*/ 214 h 237"/>
              <a:gd name="T98" fmla="*/ 37 w 287"/>
              <a:gd name="T99" fmla="*/ 145 h 237"/>
              <a:gd name="T100" fmla="*/ 75 w 287"/>
              <a:gd name="T101" fmla="*/ 106 h 237"/>
              <a:gd name="T102" fmla="*/ 86 w 287"/>
              <a:gd name="T103" fmla="*/ 108 h 237"/>
              <a:gd name="T104" fmla="*/ 79 w 287"/>
              <a:gd name="T105" fmla="*/ 137 h 237"/>
              <a:gd name="T106" fmla="*/ 88 w 287"/>
              <a:gd name="T107" fmla="*/ 237 h 237"/>
              <a:gd name="T108" fmla="*/ 200 w 287"/>
              <a:gd name="T109" fmla="*/ 237 h 237"/>
              <a:gd name="T110" fmla="*/ 200 w 287"/>
              <a:gd name="T111" fmla="*/ 137 h 237"/>
              <a:gd name="T112" fmla="*/ 144 w 287"/>
              <a:gd name="T113" fmla="*/ 81 h 237"/>
              <a:gd name="T114" fmla="*/ 88 w 287"/>
              <a:gd name="T115" fmla="*/ 137 h 237"/>
              <a:gd name="T116" fmla="*/ 88 w 287"/>
              <a:gd name="T117" fmla="*/ 237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7" h="237">
                <a:moveTo>
                  <a:pt x="260" y="78"/>
                </a:moveTo>
                <a:cubicBezTo>
                  <a:pt x="251" y="78"/>
                  <a:pt x="244" y="85"/>
                  <a:pt x="244" y="94"/>
                </a:cubicBezTo>
                <a:cubicBezTo>
                  <a:pt x="244" y="103"/>
                  <a:pt x="251" y="111"/>
                  <a:pt x="260" y="111"/>
                </a:cubicBezTo>
                <a:cubicBezTo>
                  <a:pt x="269" y="111"/>
                  <a:pt x="277" y="103"/>
                  <a:pt x="277" y="94"/>
                </a:cubicBezTo>
                <a:cubicBezTo>
                  <a:pt x="277" y="85"/>
                  <a:pt x="269" y="78"/>
                  <a:pt x="260" y="78"/>
                </a:cubicBezTo>
                <a:close/>
                <a:moveTo>
                  <a:pt x="27" y="78"/>
                </a:moveTo>
                <a:cubicBezTo>
                  <a:pt x="18" y="78"/>
                  <a:pt x="11" y="85"/>
                  <a:pt x="11" y="94"/>
                </a:cubicBezTo>
                <a:cubicBezTo>
                  <a:pt x="11" y="103"/>
                  <a:pt x="18" y="111"/>
                  <a:pt x="27" y="111"/>
                </a:cubicBezTo>
                <a:cubicBezTo>
                  <a:pt x="36" y="111"/>
                  <a:pt x="43" y="103"/>
                  <a:pt x="43" y="94"/>
                </a:cubicBezTo>
                <a:cubicBezTo>
                  <a:pt x="43" y="85"/>
                  <a:pt x="36" y="78"/>
                  <a:pt x="27" y="78"/>
                </a:cubicBezTo>
                <a:close/>
                <a:moveTo>
                  <a:pt x="212" y="49"/>
                </a:moveTo>
                <a:cubicBezTo>
                  <a:pt x="199" y="49"/>
                  <a:pt x="188" y="59"/>
                  <a:pt x="188" y="73"/>
                </a:cubicBezTo>
                <a:cubicBezTo>
                  <a:pt x="188" y="86"/>
                  <a:pt x="199" y="97"/>
                  <a:pt x="212" y="97"/>
                </a:cubicBezTo>
                <a:cubicBezTo>
                  <a:pt x="225" y="97"/>
                  <a:pt x="236" y="86"/>
                  <a:pt x="236" y="73"/>
                </a:cubicBezTo>
                <a:cubicBezTo>
                  <a:pt x="236" y="59"/>
                  <a:pt x="225" y="49"/>
                  <a:pt x="212" y="49"/>
                </a:cubicBezTo>
                <a:close/>
                <a:moveTo>
                  <a:pt x="287" y="196"/>
                </a:moveTo>
                <a:cubicBezTo>
                  <a:pt x="259" y="196"/>
                  <a:pt x="259" y="196"/>
                  <a:pt x="259" y="196"/>
                </a:cubicBezTo>
                <a:cubicBezTo>
                  <a:pt x="259" y="145"/>
                  <a:pt x="259" y="145"/>
                  <a:pt x="259" y="145"/>
                </a:cubicBezTo>
                <a:cubicBezTo>
                  <a:pt x="259" y="136"/>
                  <a:pt x="257" y="128"/>
                  <a:pt x="253" y="121"/>
                </a:cubicBezTo>
                <a:cubicBezTo>
                  <a:pt x="255" y="120"/>
                  <a:pt x="258" y="120"/>
                  <a:pt x="260" y="120"/>
                </a:cubicBezTo>
                <a:cubicBezTo>
                  <a:pt x="275" y="120"/>
                  <a:pt x="287" y="132"/>
                  <a:pt x="287" y="147"/>
                </a:cubicBezTo>
                <a:lnTo>
                  <a:pt x="287" y="196"/>
                </a:lnTo>
                <a:close/>
                <a:moveTo>
                  <a:pt x="75" y="49"/>
                </a:moveTo>
                <a:cubicBezTo>
                  <a:pt x="62" y="49"/>
                  <a:pt x="51" y="59"/>
                  <a:pt x="51" y="73"/>
                </a:cubicBezTo>
                <a:cubicBezTo>
                  <a:pt x="51" y="86"/>
                  <a:pt x="62" y="97"/>
                  <a:pt x="75" y="97"/>
                </a:cubicBezTo>
                <a:cubicBezTo>
                  <a:pt x="88" y="97"/>
                  <a:pt x="99" y="86"/>
                  <a:pt x="99" y="73"/>
                </a:cubicBezTo>
                <a:cubicBezTo>
                  <a:pt x="99" y="59"/>
                  <a:pt x="88" y="49"/>
                  <a:pt x="75" y="49"/>
                </a:cubicBezTo>
                <a:close/>
                <a:moveTo>
                  <a:pt x="27" y="120"/>
                </a:moveTo>
                <a:cubicBezTo>
                  <a:pt x="29" y="120"/>
                  <a:pt x="32" y="120"/>
                  <a:pt x="34" y="121"/>
                </a:cubicBezTo>
                <a:cubicBezTo>
                  <a:pt x="30" y="128"/>
                  <a:pt x="28" y="136"/>
                  <a:pt x="28" y="145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32"/>
                  <a:pt x="12" y="120"/>
                  <a:pt x="27" y="120"/>
                </a:cubicBezTo>
                <a:close/>
                <a:moveTo>
                  <a:pt x="144" y="0"/>
                </a:moveTo>
                <a:cubicBezTo>
                  <a:pt x="124" y="0"/>
                  <a:pt x="108" y="16"/>
                  <a:pt x="108" y="36"/>
                </a:cubicBezTo>
                <a:cubicBezTo>
                  <a:pt x="108" y="56"/>
                  <a:pt x="124" y="72"/>
                  <a:pt x="144" y="72"/>
                </a:cubicBezTo>
                <a:cubicBezTo>
                  <a:pt x="163" y="72"/>
                  <a:pt x="179" y="56"/>
                  <a:pt x="179" y="36"/>
                </a:cubicBezTo>
                <a:cubicBezTo>
                  <a:pt x="179" y="16"/>
                  <a:pt x="163" y="0"/>
                  <a:pt x="144" y="0"/>
                </a:cubicBezTo>
                <a:close/>
                <a:moveTo>
                  <a:pt x="251" y="214"/>
                </a:moveTo>
                <a:cubicBezTo>
                  <a:pt x="208" y="214"/>
                  <a:pt x="208" y="214"/>
                  <a:pt x="208" y="214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27"/>
                  <a:pt x="206" y="117"/>
                  <a:pt x="201" y="108"/>
                </a:cubicBezTo>
                <a:cubicBezTo>
                  <a:pt x="205" y="107"/>
                  <a:pt x="208" y="106"/>
                  <a:pt x="212" y="106"/>
                </a:cubicBezTo>
                <a:cubicBezTo>
                  <a:pt x="233" y="106"/>
                  <a:pt x="251" y="124"/>
                  <a:pt x="251" y="145"/>
                </a:cubicBezTo>
                <a:lnTo>
                  <a:pt x="251" y="214"/>
                </a:lnTo>
                <a:close/>
                <a:moveTo>
                  <a:pt x="79" y="137"/>
                </a:moveTo>
                <a:cubicBezTo>
                  <a:pt x="79" y="214"/>
                  <a:pt x="79" y="214"/>
                  <a:pt x="79" y="214"/>
                </a:cubicBezTo>
                <a:cubicBezTo>
                  <a:pt x="37" y="214"/>
                  <a:pt x="37" y="214"/>
                  <a:pt x="37" y="21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7" y="124"/>
                  <a:pt x="54" y="106"/>
                  <a:pt x="75" y="106"/>
                </a:cubicBezTo>
                <a:cubicBezTo>
                  <a:pt x="79" y="106"/>
                  <a:pt x="83" y="107"/>
                  <a:pt x="86" y="108"/>
                </a:cubicBezTo>
                <a:cubicBezTo>
                  <a:pt x="81" y="117"/>
                  <a:pt x="79" y="127"/>
                  <a:pt x="79" y="137"/>
                </a:cubicBezTo>
                <a:close/>
                <a:moveTo>
                  <a:pt x="88" y="237"/>
                </a:moveTo>
                <a:cubicBezTo>
                  <a:pt x="200" y="237"/>
                  <a:pt x="200" y="237"/>
                  <a:pt x="200" y="237"/>
                </a:cubicBezTo>
                <a:cubicBezTo>
                  <a:pt x="200" y="137"/>
                  <a:pt x="200" y="137"/>
                  <a:pt x="200" y="137"/>
                </a:cubicBezTo>
                <a:cubicBezTo>
                  <a:pt x="200" y="106"/>
                  <a:pt x="174" y="81"/>
                  <a:pt x="144" y="81"/>
                </a:cubicBezTo>
                <a:cubicBezTo>
                  <a:pt x="113" y="81"/>
                  <a:pt x="88" y="106"/>
                  <a:pt x="88" y="137"/>
                </a:cubicBezTo>
                <a:lnTo>
                  <a:pt x="88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756BBC4-8125-440E-840F-27B1262ADB88}"/>
              </a:ext>
            </a:extLst>
          </p:cNvPr>
          <p:cNvSpPr txBox="1"/>
          <p:nvPr/>
        </p:nvSpPr>
        <p:spPr>
          <a:xfrm>
            <a:off x="5958590" y="5033289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  <p:sp>
        <p:nvSpPr>
          <p:cNvPr id="36" name="iṥḻiḑè">
            <a:extLst>
              <a:ext uri="{FF2B5EF4-FFF2-40B4-BE49-F238E27FC236}">
                <a16:creationId xmlns:a16="http://schemas.microsoft.com/office/drawing/2014/main" id="{959512B9-AE1C-4621-BBD6-37E2F673BEB0}"/>
              </a:ext>
            </a:extLst>
          </p:cNvPr>
          <p:cNvSpPr/>
          <p:nvPr/>
        </p:nvSpPr>
        <p:spPr bwMode="auto">
          <a:xfrm>
            <a:off x="8255851" y="5169556"/>
            <a:ext cx="725804" cy="73015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7" name="í$1ïḑé">
            <a:extLst>
              <a:ext uri="{FF2B5EF4-FFF2-40B4-BE49-F238E27FC236}">
                <a16:creationId xmlns:a16="http://schemas.microsoft.com/office/drawing/2014/main" id="{CD98113F-079F-4958-A9A0-EB2E7B6FE10B}"/>
              </a:ext>
            </a:extLst>
          </p:cNvPr>
          <p:cNvSpPr/>
          <p:nvPr/>
        </p:nvSpPr>
        <p:spPr bwMode="auto">
          <a:xfrm>
            <a:off x="8367652" y="5326787"/>
            <a:ext cx="502203" cy="415693"/>
          </a:xfrm>
          <a:custGeom>
            <a:avLst/>
            <a:gdLst>
              <a:gd name="T0" fmla="*/ 260 w 287"/>
              <a:gd name="T1" fmla="*/ 78 h 237"/>
              <a:gd name="T2" fmla="*/ 244 w 287"/>
              <a:gd name="T3" fmla="*/ 94 h 237"/>
              <a:gd name="T4" fmla="*/ 260 w 287"/>
              <a:gd name="T5" fmla="*/ 111 h 237"/>
              <a:gd name="T6" fmla="*/ 277 w 287"/>
              <a:gd name="T7" fmla="*/ 94 h 237"/>
              <a:gd name="T8" fmla="*/ 260 w 287"/>
              <a:gd name="T9" fmla="*/ 78 h 237"/>
              <a:gd name="T10" fmla="*/ 27 w 287"/>
              <a:gd name="T11" fmla="*/ 78 h 237"/>
              <a:gd name="T12" fmla="*/ 11 w 287"/>
              <a:gd name="T13" fmla="*/ 94 h 237"/>
              <a:gd name="T14" fmla="*/ 27 w 287"/>
              <a:gd name="T15" fmla="*/ 111 h 237"/>
              <a:gd name="T16" fmla="*/ 43 w 287"/>
              <a:gd name="T17" fmla="*/ 94 h 237"/>
              <a:gd name="T18" fmla="*/ 27 w 287"/>
              <a:gd name="T19" fmla="*/ 78 h 237"/>
              <a:gd name="T20" fmla="*/ 212 w 287"/>
              <a:gd name="T21" fmla="*/ 49 h 237"/>
              <a:gd name="T22" fmla="*/ 188 w 287"/>
              <a:gd name="T23" fmla="*/ 73 h 237"/>
              <a:gd name="T24" fmla="*/ 212 w 287"/>
              <a:gd name="T25" fmla="*/ 97 h 237"/>
              <a:gd name="T26" fmla="*/ 236 w 287"/>
              <a:gd name="T27" fmla="*/ 73 h 237"/>
              <a:gd name="T28" fmla="*/ 212 w 287"/>
              <a:gd name="T29" fmla="*/ 49 h 237"/>
              <a:gd name="T30" fmla="*/ 287 w 287"/>
              <a:gd name="T31" fmla="*/ 196 h 237"/>
              <a:gd name="T32" fmla="*/ 259 w 287"/>
              <a:gd name="T33" fmla="*/ 196 h 237"/>
              <a:gd name="T34" fmla="*/ 259 w 287"/>
              <a:gd name="T35" fmla="*/ 145 h 237"/>
              <a:gd name="T36" fmla="*/ 253 w 287"/>
              <a:gd name="T37" fmla="*/ 121 h 237"/>
              <a:gd name="T38" fmla="*/ 260 w 287"/>
              <a:gd name="T39" fmla="*/ 120 h 237"/>
              <a:gd name="T40" fmla="*/ 287 w 287"/>
              <a:gd name="T41" fmla="*/ 147 h 237"/>
              <a:gd name="T42" fmla="*/ 287 w 287"/>
              <a:gd name="T43" fmla="*/ 196 h 237"/>
              <a:gd name="T44" fmla="*/ 75 w 287"/>
              <a:gd name="T45" fmla="*/ 49 h 237"/>
              <a:gd name="T46" fmla="*/ 51 w 287"/>
              <a:gd name="T47" fmla="*/ 73 h 237"/>
              <a:gd name="T48" fmla="*/ 75 w 287"/>
              <a:gd name="T49" fmla="*/ 97 h 237"/>
              <a:gd name="T50" fmla="*/ 99 w 287"/>
              <a:gd name="T51" fmla="*/ 73 h 237"/>
              <a:gd name="T52" fmla="*/ 75 w 287"/>
              <a:gd name="T53" fmla="*/ 49 h 237"/>
              <a:gd name="T54" fmla="*/ 27 w 287"/>
              <a:gd name="T55" fmla="*/ 120 h 237"/>
              <a:gd name="T56" fmla="*/ 34 w 287"/>
              <a:gd name="T57" fmla="*/ 121 h 237"/>
              <a:gd name="T58" fmla="*/ 28 w 287"/>
              <a:gd name="T59" fmla="*/ 145 h 237"/>
              <a:gd name="T60" fmla="*/ 28 w 287"/>
              <a:gd name="T61" fmla="*/ 196 h 237"/>
              <a:gd name="T62" fmla="*/ 0 w 287"/>
              <a:gd name="T63" fmla="*/ 196 h 237"/>
              <a:gd name="T64" fmla="*/ 0 w 287"/>
              <a:gd name="T65" fmla="*/ 147 h 237"/>
              <a:gd name="T66" fmla="*/ 27 w 287"/>
              <a:gd name="T67" fmla="*/ 120 h 237"/>
              <a:gd name="T68" fmla="*/ 144 w 287"/>
              <a:gd name="T69" fmla="*/ 0 h 237"/>
              <a:gd name="T70" fmla="*/ 108 w 287"/>
              <a:gd name="T71" fmla="*/ 36 h 237"/>
              <a:gd name="T72" fmla="*/ 144 w 287"/>
              <a:gd name="T73" fmla="*/ 72 h 237"/>
              <a:gd name="T74" fmla="*/ 179 w 287"/>
              <a:gd name="T75" fmla="*/ 36 h 237"/>
              <a:gd name="T76" fmla="*/ 144 w 287"/>
              <a:gd name="T77" fmla="*/ 0 h 237"/>
              <a:gd name="T78" fmla="*/ 251 w 287"/>
              <a:gd name="T79" fmla="*/ 214 h 237"/>
              <a:gd name="T80" fmla="*/ 208 w 287"/>
              <a:gd name="T81" fmla="*/ 214 h 237"/>
              <a:gd name="T82" fmla="*/ 208 w 287"/>
              <a:gd name="T83" fmla="*/ 137 h 237"/>
              <a:gd name="T84" fmla="*/ 201 w 287"/>
              <a:gd name="T85" fmla="*/ 108 h 237"/>
              <a:gd name="T86" fmla="*/ 212 w 287"/>
              <a:gd name="T87" fmla="*/ 106 h 237"/>
              <a:gd name="T88" fmla="*/ 251 w 287"/>
              <a:gd name="T89" fmla="*/ 145 h 237"/>
              <a:gd name="T90" fmla="*/ 251 w 287"/>
              <a:gd name="T91" fmla="*/ 214 h 237"/>
              <a:gd name="T92" fmla="*/ 79 w 287"/>
              <a:gd name="T93" fmla="*/ 137 h 237"/>
              <a:gd name="T94" fmla="*/ 79 w 287"/>
              <a:gd name="T95" fmla="*/ 214 h 237"/>
              <a:gd name="T96" fmla="*/ 37 w 287"/>
              <a:gd name="T97" fmla="*/ 214 h 237"/>
              <a:gd name="T98" fmla="*/ 37 w 287"/>
              <a:gd name="T99" fmla="*/ 145 h 237"/>
              <a:gd name="T100" fmla="*/ 75 w 287"/>
              <a:gd name="T101" fmla="*/ 106 h 237"/>
              <a:gd name="T102" fmla="*/ 86 w 287"/>
              <a:gd name="T103" fmla="*/ 108 h 237"/>
              <a:gd name="T104" fmla="*/ 79 w 287"/>
              <a:gd name="T105" fmla="*/ 137 h 237"/>
              <a:gd name="T106" fmla="*/ 88 w 287"/>
              <a:gd name="T107" fmla="*/ 237 h 237"/>
              <a:gd name="T108" fmla="*/ 200 w 287"/>
              <a:gd name="T109" fmla="*/ 237 h 237"/>
              <a:gd name="T110" fmla="*/ 200 w 287"/>
              <a:gd name="T111" fmla="*/ 137 h 237"/>
              <a:gd name="T112" fmla="*/ 144 w 287"/>
              <a:gd name="T113" fmla="*/ 81 h 237"/>
              <a:gd name="T114" fmla="*/ 88 w 287"/>
              <a:gd name="T115" fmla="*/ 137 h 237"/>
              <a:gd name="T116" fmla="*/ 88 w 287"/>
              <a:gd name="T117" fmla="*/ 237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7" h="237">
                <a:moveTo>
                  <a:pt x="260" y="78"/>
                </a:moveTo>
                <a:cubicBezTo>
                  <a:pt x="251" y="78"/>
                  <a:pt x="244" y="85"/>
                  <a:pt x="244" y="94"/>
                </a:cubicBezTo>
                <a:cubicBezTo>
                  <a:pt x="244" y="103"/>
                  <a:pt x="251" y="111"/>
                  <a:pt x="260" y="111"/>
                </a:cubicBezTo>
                <a:cubicBezTo>
                  <a:pt x="269" y="111"/>
                  <a:pt x="277" y="103"/>
                  <a:pt x="277" y="94"/>
                </a:cubicBezTo>
                <a:cubicBezTo>
                  <a:pt x="277" y="85"/>
                  <a:pt x="269" y="78"/>
                  <a:pt x="260" y="78"/>
                </a:cubicBezTo>
                <a:close/>
                <a:moveTo>
                  <a:pt x="27" y="78"/>
                </a:moveTo>
                <a:cubicBezTo>
                  <a:pt x="18" y="78"/>
                  <a:pt x="11" y="85"/>
                  <a:pt x="11" y="94"/>
                </a:cubicBezTo>
                <a:cubicBezTo>
                  <a:pt x="11" y="103"/>
                  <a:pt x="18" y="111"/>
                  <a:pt x="27" y="111"/>
                </a:cubicBezTo>
                <a:cubicBezTo>
                  <a:pt x="36" y="111"/>
                  <a:pt x="43" y="103"/>
                  <a:pt x="43" y="94"/>
                </a:cubicBezTo>
                <a:cubicBezTo>
                  <a:pt x="43" y="85"/>
                  <a:pt x="36" y="78"/>
                  <a:pt x="27" y="78"/>
                </a:cubicBezTo>
                <a:close/>
                <a:moveTo>
                  <a:pt x="212" y="49"/>
                </a:moveTo>
                <a:cubicBezTo>
                  <a:pt x="199" y="49"/>
                  <a:pt x="188" y="59"/>
                  <a:pt x="188" y="73"/>
                </a:cubicBezTo>
                <a:cubicBezTo>
                  <a:pt x="188" y="86"/>
                  <a:pt x="199" y="97"/>
                  <a:pt x="212" y="97"/>
                </a:cubicBezTo>
                <a:cubicBezTo>
                  <a:pt x="225" y="97"/>
                  <a:pt x="236" y="86"/>
                  <a:pt x="236" y="73"/>
                </a:cubicBezTo>
                <a:cubicBezTo>
                  <a:pt x="236" y="59"/>
                  <a:pt x="225" y="49"/>
                  <a:pt x="212" y="49"/>
                </a:cubicBezTo>
                <a:close/>
                <a:moveTo>
                  <a:pt x="287" y="196"/>
                </a:moveTo>
                <a:cubicBezTo>
                  <a:pt x="259" y="196"/>
                  <a:pt x="259" y="196"/>
                  <a:pt x="259" y="196"/>
                </a:cubicBezTo>
                <a:cubicBezTo>
                  <a:pt x="259" y="145"/>
                  <a:pt x="259" y="145"/>
                  <a:pt x="259" y="145"/>
                </a:cubicBezTo>
                <a:cubicBezTo>
                  <a:pt x="259" y="136"/>
                  <a:pt x="257" y="128"/>
                  <a:pt x="253" y="121"/>
                </a:cubicBezTo>
                <a:cubicBezTo>
                  <a:pt x="255" y="120"/>
                  <a:pt x="258" y="120"/>
                  <a:pt x="260" y="120"/>
                </a:cubicBezTo>
                <a:cubicBezTo>
                  <a:pt x="275" y="120"/>
                  <a:pt x="287" y="132"/>
                  <a:pt x="287" y="147"/>
                </a:cubicBezTo>
                <a:lnTo>
                  <a:pt x="287" y="196"/>
                </a:lnTo>
                <a:close/>
                <a:moveTo>
                  <a:pt x="75" y="49"/>
                </a:moveTo>
                <a:cubicBezTo>
                  <a:pt x="62" y="49"/>
                  <a:pt x="51" y="59"/>
                  <a:pt x="51" y="73"/>
                </a:cubicBezTo>
                <a:cubicBezTo>
                  <a:pt x="51" y="86"/>
                  <a:pt x="62" y="97"/>
                  <a:pt x="75" y="97"/>
                </a:cubicBezTo>
                <a:cubicBezTo>
                  <a:pt x="88" y="97"/>
                  <a:pt x="99" y="86"/>
                  <a:pt x="99" y="73"/>
                </a:cubicBezTo>
                <a:cubicBezTo>
                  <a:pt x="99" y="59"/>
                  <a:pt x="88" y="49"/>
                  <a:pt x="75" y="49"/>
                </a:cubicBezTo>
                <a:close/>
                <a:moveTo>
                  <a:pt x="27" y="120"/>
                </a:moveTo>
                <a:cubicBezTo>
                  <a:pt x="29" y="120"/>
                  <a:pt x="32" y="120"/>
                  <a:pt x="34" y="121"/>
                </a:cubicBezTo>
                <a:cubicBezTo>
                  <a:pt x="30" y="128"/>
                  <a:pt x="28" y="136"/>
                  <a:pt x="28" y="145"/>
                </a:cubicBezTo>
                <a:cubicBezTo>
                  <a:pt x="28" y="196"/>
                  <a:pt x="28" y="196"/>
                  <a:pt x="28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32"/>
                  <a:pt x="12" y="120"/>
                  <a:pt x="27" y="120"/>
                </a:cubicBezTo>
                <a:close/>
                <a:moveTo>
                  <a:pt x="144" y="0"/>
                </a:moveTo>
                <a:cubicBezTo>
                  <a:pt x="124" y="0"/>
                  <a:pt x="108" y="16"/>
                  <a:pt x="108" y="36"/>
                </a:cubicBezTo>
                <a:cubicBezTo>
                  <a:pt x="108" y="56"/>
                  <a:pt x="124" y="72"/>
                  <a:pt x="144" y="72"/>
                </a:cubicBezTo>
                <a:cubicBezTo>
                  <a:pt x="163" y="72"/>
                  <a:pt x="179" y="56"/>
                  <a:pt x="179" y="36"/>
                </a:cubicBezTo>
                <a:cubicBezTo>
                  <a:pt x="179" y="16"/>
                  <a:pt x="163" y="0"/>
                  <a:pt x="144" y="0"/>
                </a:cubicBezTo>
                <a:close/>
                <a:moveTo>
                  <a:pt x="251" y="214"/>
                </a:moveTo>
                <a:cubicBezTo>
                  <a:pt x="208" y="214"/>
                  <a:pt x="208" y="214"/>
                  <a:pt x="208" y="214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27"/>
                  <a:pt x="206" y="117"/>
                  <a:pt x="201" y="108"/>
                </a:cubicBezTo>
                <a:cubicBezTo>
                  <a:pt x="205" y="107"/>
                  <a:pt x="208" y="106"/>
                  <a:pt x="212" y="106"/>
                </a:cubicBezTo>
                <a:cubicBezTo>
                  <a:pt x="233" y="106"/>
                  <a:pt x="251" y="124"/>
                  <a:pt x="251" y="145"/>
                </a:cubicBezTo>
                <a:lnTo>
                  <a:pt x="251" y="214"/>
                </a:lnTo>
                <a:close/>
                <a:moveTo>
                  <a:pt x="79" y="137"/>
                </a:moveTo>
                <a:cubicBezTo>
                  <a:pt x="79" y="214"/>
                  <a:pt x="79" y="214"/>
                  <a:pt x="79" y="214"/>
                </a:cubicBezTo>
                <a:cubicBezTo>
                  <a:pt x="37" y="214"/>
                  <a:pt x="37" y="214"/>
                  <a:pt x="37" y="214"/>
                </a:cubicBezTo>
                <a:cubicBezTo>
                  <a:pt x="37" y="145"/>
                  <a:pt x="37" y="145"/>
                  <a:pt x="37" y="145"/>
                </a:cubicBezTo>
                <a:cubicBezTo>
                  <a:pt x="37" y="124"/>
                  <a:pt x="54" y="106"/>
                  <a:pt x="75" y="106"/>
                </a:cubicBezTo>
                <a:cubicBezTo>
                  <a:pt x="79" y="106"/>
                  <a:pt x="83" y="107"/>
                  <a:pt x="86" y="108"/>
                </a:cubicBezTo>
                <a:cubicBezTo>
                  <a:pt x="81" y="117"/>
                  <a:pt x="79" y="127"/>
                  <a:pt x="79" y="137"/>
                </a:cubicBezTo>
                <a:close/>
                <a:moveTo>
                  <a:pt x="88" y="237"/>
                </a:moveTo>
                <a:cubicBezTo>
                  <a:pt x="200" y="237"/>
                  <a:pt x="200" y="237"/>
                  <a:pt x="200" y="237"/>
                </a:cubicBezTo>
                <a:cubicBezTo>
                  <a:pt x="200" y="137"/>
                  <a:pt x="200" y="137"/>
                  <a:pt x="200" y="137"/>
                </a:cubicBezTo>
                <a:cubicBezTo>
                  <a:pt x="200" y="106"/>
                  <a:pt x="174" y="81"/>
                  <a:pt x="144" y="81"/>
                </a:cubicBezTo>
                <a:cubicBezTo>
                  <a:pt x="113" y="81"/>
                  <a:pt x="88" y="106"/>
                  <a:pt x="88" y="137"/>
                </a:cubicBezTo>
                <a:lnTo>
                  <a:pt x="88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FB4CCD4-8520-4F75-9379-57B9A00D939C}"/>
              </a:ext>
            </a:extLst>
          </p:cNvPr>
          <p:cNvSpPr txBox="1"/>
          <p:nvPr/>
        </p:nvSpPr>
        <p:spPr>
          <a:xfrm>
            <a:off x="9148639" y="5033289"/>
            <a:ext cx="2066332" cy="9233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a14="http://schemas.microsoft.com/office/drawing/2010/main" xmlns:p14="http://schemas.microsoft.com/office/powerpoint/2010/main" xmlns:mc="http://schemas.openxmlformats.org/markup-compatibility/2006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chemeClr val="bg2">
                    <a:lumMod val="75000"/>
                  </a:schemeClr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 frictionless </a:t>
            </a:r>
            <a:r>
              <a:rPr dirty="0" err="1">
                <a:sym typeface="+mn-lt"/>
              </a:rPr>
              <a:t>chains</a:t>
            </a:r>
            <a:r>
              <a:rPr lang="en-US" altLang="zh-CN" dirty="0" err="1">
                <a:sym typeface="+mn-lt"/>
              </a:rPr>
              <a:t>Synergistically</a:t>
            </a:r>
            <a:r>
              <a:rPr lang="zh-CN" altLang="en-US" dirty="0">
                <a:sym typeface="+mn-lt"/>
              </a:rPr>
              <a:t>，</a:t>
            </a:r>
            <a:r>
              <a:rPr lang="en-US" altLang="zh-CN" dirty="0">
                <a:sym typeface="+mn-lt"/>
              </a:rPr>
              <a:t>Synergistically utilize</a:t>
            </a:r>
          </a:p>
        </p:txBody>
      </p:sp>
    </p:spTree>
    <p:extLst>
      <p:ext uri="{BB962C8B-B14F-4D97-AF65-F5344CB8AC3E}">
        <p14:creationId xmlns:p14="http://schemas.microsoft.com/office/powerpoint/2010/main" val="42356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a14="http://schemas.microsoft.com/office/drawing/2010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29" grpId="0" animBg="1"/>
      <p:bldP spid="32" grpId="0" animBg="1"/>
      <p:bldP spid="35" grpId="0" animBg="1"/>
      <p:bldP spid="3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15"/>
          <p:cNvSpPr txBox="1"/>
          <p:nvPr/>
        </p:nvSpPr>
        <p:spPr>
          <a:xfrm>
            <a:off x="6435600" y="1566833"/>
            <a:ext cx="1255600" cy="7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800" kern="0">
                <a:solidFill>
                  <a:srgbClr val="A43975"/>
                </a:solidFill>
                <a:cs typeface="+mn-ea"/>
                <a:sym typeface="+mn-lt"/>
              </a:rPr>
              <a:t>01</a:t>
            </a:r>
            <a:endParaRPr sz="4800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grpSp>
        <p:nvGrpSpPr>
          <p:cNvPr id="136" name="Google Shape;136;p15"/>
          <p:cNvGrpSpPr/>
          <p:nvPr/>
        </p:nvGrpSpPr>
        <p:grpSpPr>
          <a:xfrm>
            <a:off x="609587" y="1553418"/>
            <a:ext cx="5286896" cy="4530988"/>
            <a:chOff x="1199275" y="1166750"/>
            <a:chExt cx="2757600" cy="2363325"/>
          </a:xfrm>
        </p:grpSpPr>
        <p:sp>
          <p:nvSpPr>
            <p:cNvPr id="137" name="Google Shape;137;p15"/>
            <p:cNvSpPr/>
            <p:nvPr/>
          </p:nvSpPr>
          <p:spPr>
            <a:xfrm>
              <a:off x="1199275" y="1314025"/>
              <a:ext cx="1630975" cy="1797225"/>
            </a:xfrm>
            <a:custGeom>
              <a:avLst/>
              <a:gdLst/>
              <a:ahLst/>
              <a:cxnLst/>
              <a:rect l="l" t="t" r="r" b="b"/>
              <a:pathLst>
                <a:path w="65239" h="71889" extrusionOk="0">
                  <a:moveTo>
                    <a:pt x="60963" y="0"/>
                  </a:moveTo>
                  <a:cubicBezTo>
                    <a:pt x="30244" y="0"/>
                    <a:pt x="5257" y="25018"/>
                    <a:pt x="5257" y="55737"/>
                  </a:cubicBezTo>
                  <a:cubicBezTo>
                    <a:pt x="5257" y="57637"/>
                    <a:pt x="5352" y="59538"/>
                    <a:pt x="5511" y="61374"/>
                  </a:cubicBezTo>
                  <a:lnTo>
                    <a:pt x="0" y="61374"/>
                  </a:lnTo>
                  <a:lnTo>
                    <a:pt x="15360" y="71888"/>
                  </a:lnTo>
                  <a:lnTo>
                    <a:pt x="30688" y="61374"/>
                  </a:lnTo>
                  <a:lnTo>
                    <a:pt x="25652" y="61374"/>
                  </a:lnTo>
                  <a:cubicBezTo>
                    <a:pt x="25431" y="59538"/>
                    <a:pt x="25304" y="57637"/>
                    <a:pt x="25304" y="55737"/>
                  </a:cubicBezTo>
                  <a:cubicBezTo>
                    <a:pt x="25304" y="36071"/>
                    <a:pt x="41297" y="20046"/>
                    <a:pt x="60963" y="20046"/>
                  </a:cubicBezTo>
                  <a:cubicBezTo>
                    <a:pt x="61692" y="20046"/>
                    <a:pt x="64542" y="20078"/>
                    <a:pt x="65239" y="20141"/>
                  </a:cubicBezTo>
                  <a:lnTo>
                    <a:pt x="64510" y="222"/>
                  </a:lnTo>
                  <a:cubicBezTo>
                    <a:pt x="63813" y="190"/>
                    <a:pt x="61692" y="0"/>
                    <a:pt x="60963" y="0"/>
                  </a:cubicBez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138" name="Google Shape;138;p15"/>
            <p:cNvSpPr/>
            <p:nvPr/>
          </p:nvSpPr>
          <p:spPr>
            <a:xfrm>
              <a:off x="2636250" y="1166750"/>
              <a:ext cx="1320625" cy="1813075"/>
            </a:xfrm>
            <a:custGeom>
              <a:avLst/>
              <a:gdLst/>
              <a:ahLst/>
              <a:cxnLst/>
              <a:rect l="l" t="t" r="r" b="b"/>
              <a:pathLst>
                <a:path w="52825" h="72523" extrusionOk="0">
                  <a:moveTo>
                    <a:pt x="10515" y="1"/>
                  </a:moveTo>
                  <a:lnTo>
                    <a:pt x="1" y="15328"/>
                  </a:lnTo>
                  <a:lnTo>
                    <a:pt x="10515" y="30688"/>
                  </a:lnTo>
                  <a:lnTo>
                    <a:pt x="10515" y="26286"/>
                  </a:lnTo>
                  <a:cubicBezTo>
                    <a:pt x="23119" y="28344"/>
                    <a:pt x="32778" y="39302"/>
                    <a:pt x="32778" y="52476"/>
                  </a:cubicBezTo>
                  <a:cubicBezTo>
                    <a:pt x="32778" y="58873"/>
                    <a:pt x="29643" y="64542"/>
                    <a:pt x="24861" y="68025"/>
                  </a:cubicBezTo>
                  <a:lnTo>
                    <a:pt x="47948" y="72522"/>
                  </a:lnTo>
                  <a:cubicBezTo>
                    <a:pt x="50006" y="67740"/>
                    <a:pt x="52825" y="64257"/>
                    <a:pt x="52825" y="52476"/>
                  </a:cubicBezTo>
                  <a:cubicBezTo>
                    <a:pt x="52825" y="27584"/>
                    <a:pt x="37212" y="9660"/>
                    <a:pt x="10515" y="6113"/>
                  </a:cubicBezTo>
                  <a:lnTo>
                    <a:pt x="10515" y="1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139" name="Google Shape;139;p15"/>
            <p:cNvSpPr/>
            <p:nvPr/>
          </p:nvSpPr>
          <p:spPr>
            <a:xfrm>
              <a:off x="2175475" y="2708225"/>
              <a:ext cx="1771100" cy="821850"/>
            </a:xfrm>
            <a:custGeom>
              <a:avLst/>
              <a:gdLst/>
              <a:ahLst/>
              <a:cxnLst/>
              <a:rect l="l" t="t" r="r" b="b"/>
              <a:pathLst>
                <a:path w="70844" h="32874" extrusionOk="0">
                  <a:moveTo>
                    <a:pt x="57860" y="1"/>
                  </a:moveTo>
                  <a:lnTo>
                    <a:pt x="40758" y="7285"/>
                  </a:lnTo>
                  <a:lnTo>
                    <a:pt x="44369" y="8013"/>
                  </a:lnTo>
                  <a:cubicBezTo>
                    <a:pt x="43925" y="8488"/>
                    <a:pt x="42500" y="9470"/>
                    <a:pt x="42500" y="9470"/>
                  </a:cubicBezTo>
                  <a:cubicBezTo>
                    <a:pt x="39428" y="11592"/>
                    <a:pt x="35691" y="12858"/>
                    <a:pt x="31701" y="12858"/>
                  </a:cubicBezTo>
                  <a:cubicBezTo>
                    <a:pt x="28312" y="12858"/>
                    <a:pt x="25082" y="11433"/>
                    <a:pt x="22707" y="9312"/>
                  </a:cubicBezTo>
                  <a:lnTo>
                    <a:pt x="0" y="9470"/>
                  </a:lnTo>
                  <a:cubicBezTo>
                    <a:pt x="4244" y="23024"/>
                    <a:pt x="16848" y="32873"/>
                    <a:pt x="31701" y="32873"/>
                  </a:cubicBezTo>
                  <a:cubicBezTo>
                    <a:pt x="46490" y="32873"/>
                    <a:pt x="59380" y="24576"/>
                    <a:pt x="65999" y="12320"/>
                  </a:cubicBezTo>
                  <a:lnTo>
                    <a:pt x="70844" y="13302"/>
                  </a:lnTo>
                  <a:lnTo>
                    <a:pt x="67329" y="9692"/>
                  </a:lnTo>
                  <a:cubicBezTo>
                    <a:pt x="67360" y="9597"/>
                    <a:pt x="67392" y="9533"/>
                    <a:pt x="67424" y="9470"/>
                  </a:cubicBezTo>
                  <a:lnTo>
                    <a:pt x="67107" y="9470"/>
                  </a:lnTo>
                  <a:lnTo>
                    <a:pt x="57860" y="1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140" name="Google Shape;140;p15"/>
            <p:cNvSpPr/>
            <p:nvPr/>
          </p:nvSpPr>
          <p:spPr>
            <a:xfrm>
              <a:off x="2101050" y="1986975"/>
              <a:ext cx="754525" cy="1199475"/>
            </a:xfrm>
            <a:custGeom>
              <a:avLst/>
              <a:gdLst/>
              <a:ahLst/>
              <a:cxnLst/>
              <a:rect l="l" t="t" r="r" b="b"/>
              <a:pathLst>
                <a:path w="30181" h="47979" extrusionOk="0">
                  <a:moveTo>
                    <a:pt x="30181" y="1"/>
                  </a:moveTo>
                  <a:cubicBezTo>
                    <a:pt x="14346" y="1"/>
                    <a:pt x="1457" y="12890"/>
                    <a:pt x="1457" y="28724"/>
                  </a:cubicBezTo>
                  <a:cubicBezTo>
                    <a:pt x="1457" y="31669"/>
                    <a:pt x="1837" y="34520"/>
                    <a:pt x="2534" y="37243"/>
                  </a:cubicBezTo>
                  <a:cubicBezTo>
                    <a:pt x="2597" y="37465"/>
                    <a:pt x="2661" y="37655"/>
                    <a:pt x="2724" y="37877"/>
                  </a:cubicBezTo>
                  <a:cubicBezTo>
                    <a:pt x="2914" y="38668"/>
                    <a:pt x="3199" y="39618"/>
                    <a:pt x="3611" y="40537"/>
                  </a:cubicBezTo>
                  <a:lnTo>
                    <a:pt x="0" y="41518"/>
                  </a:lnTo>
                  <a:lnTo>
                    <a:pt x="2629" y="42437"/>
                  </a:lnTo>
                  <a:lnTo>
                    <a:pt x="17767" y="47979"/>
                  </a:lnTo>
                  <a:lnTo>
                    <a:pt x="24544" y="39555"/>
                  </a:lnTo>
                  <a:lnTo>
                    <a:pt x="25177" y="38827"/>
                  </a:lnTo>
                  <a:lnTo>
                    <a:pt x="29484" y="33443"/>
                  </a:lnTo>
                  <a:lnTo>
                    <a:pt x="22485" y="35375"/>
                  </a:lnTo>
                  <a:cubicBezTo>
                    <a:pt x="21567" y="33665"/>
                    <a:pt x="21060" y="31733"/>
                    <a:pt x="21060" y="29643"/>
                  </a:cubicBezTo>
                  <a:cubicBezTo>
                    <a:pt x="21060" y="23974"/>
                    <a:pt x="24924" y="19192"/>
                    <a:pt x="30181" y="17798"/>
                  </a:cubicBezTo>
                  <a:lnTo>
                    <a:pt x="30181" y="1"/>
                  </a:lnTo>
                  <a:close/>
                </a:path>
              </a:pathLst>
            </a:custGeom>
            <a:gradFill>
              <a:gsLst>
                <a:gs pos="21000">
                  <a:schemeClr val="accent1">
                    <a:alpha val="85000"/>
                  </a:schemeClr>
                </a:gs>
                <a:gs pos="100000">
                  <a:schemeClr val="accent2">
                    <a:alpha val="90000"/>
                  </a:scheme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/>
              <a:endParaRPr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41" name="Google Shape;141;p15"/>
          <p:cNvSpPr txBox="1"/>
          <p:nvPr/>
        </p:nvSpPr>
        <p:spPr>
          <a:xfrm>
            <a:off x="2407590" y="3810103"/>
            <a:ext cx="1013124" cy="70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kern="0">
                <a:solidFill>
                  <a:srgbClr val="FFFFFF"/>
                </a:solidFill>
                <a:cs typeface="+mn-ea"/>
                <a:sym typeface="+mn-lt"/>
              </a:rPr>
              <a:t>01</a:t>
            </a:r>
            <a:endParaRPr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2" name="Google Shape;142;p15"/>
          <p:cNvSpPr txBox="1"/>
          <p:nvPr/>
        </p:nvSpPr>
        <p:spPr>
          <a:xfrm>
            <a:off x="3626898" y="5187712"/>
            <a:ext cx="1013124" cy="70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kern="0">
                <a:solidFill>
                  <a:srgbClr val="FFFFFF"/>
                </a:solidFill>
                <a:cs typeface="+mn-ea"/>
                <a:sym typeface="+mn-lt"/>
              </a:rPr>
              <a:t>02</a:t>
            </a:r>
            <a:endParaRPr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3" name="Google Shape;143;p15"/>
          <p:cNvSpPr txBox="1"/>
          <p:nvPr/>
        </p:nvSpPr>
        <p:spPr>
          <a:xfrm>
            <a:off x="4751261" y="2987799"/>
            <a:ext cx="1013124" cy="70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kern="0">
                <a:solidFill>
                  <a:srgbClr val="FFFFFF"/>
                </a:solidFill>
                <a:cs typeface="+mn-ea"/>
                <a:sym typeface="+mn-lt"/>
              </a:rPr>
              <a:t>03</a:t>
            </a:r>
            <a:endParaRPr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4" name="Google Shape;144;p15"/>
          <p:cNvSpPr txBox="1"/>
          <p:nvPr/>
        </p:nvSpPr>
        <p:spPr>
          <a:xfrm>
            <a:off x="1337710" y="2698009"/>
            <a:ext cx="1013124" cy="709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kern="0">
                <a:solidFill>
                  <a:srgbClr val="FFFFFF"/>
                </a:solidFill>
                <a:cs typeface="+mn-ea"/>
                <a:sym typeface="+mn-lt"/>
              </a:rPr>
              <a:t>04</a:t>
            </a:r>
            <a:endParaRPr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5" name="Google Shape;145;p15"/>
          <p:cNvSpPr txBox="1"/>
          <p:nvPr/>
        </p:nvSpPr>
        <p:spPr>
          <a:xfrm>
            <a:off x="6435600" y="2790800"/>
            <a:ext cx="1255600" cy="7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800" kern="0">
                <a:solidFill>
                  <a:srgbClr val="A43975"/>
                </a:solidFill>
                <a:cs typeface="+mn-ea"/>
                <a:sym typeface="+mn-lt"/>
              </a:rPr>
              <a:t>02</a:t>
            </a:r>
            <a:endParaRPr sz="4800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146" name="Google Shape;146;p15"/>
          <p:cNvSpPr txBox="1"/>
          <p:nvPr/>
        </p:nvSpPr>
        <p:spPr>
          <a:xfrm>
            <a:off x="6435600" y="4014767"/>
            <a:ext cx="1255600" cy="7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800" kern="0">
                <a:solidFill>
                  <a:srgbClr val="A43975"/>
                </a:solidFill>
                <a:cs typeface="+mn-ea"/>
                <a:sym typeface="+mn-lt"/>
              </a:rPr>
              <a:t>03</a:t>
            </a:r>
            <a:endParaRPr sz="4800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147" name="Google Shape;147;p15"/>
          <p:cNvSpPr txBox="1"/>
          <p:nvPr/>
        </p:nvSpPr>
        <p:spPr>
          <a:xfrm>
            <a:off x="6435596" y="5242767"/>
            <a:ext cx="1255600" cy="7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en" sz="4800" kern="0">
                <a:solidFill>
                  <a:srgbClr val="A43975"/>
                </a:solidFill>
                <a:cs typeface="+mn-ea"/>
                <a:sym typeface="+mn-lt"/>
              </a:rPr>
              <a:t>04</a:t>
            </a:r>
            <a:endParaRPr sz="4800" kern="0">
              <a:solidFill>
                <a:srgbClr val="A43975"/>
              </a:solidFill>
              <a:cs typeface="+mn-ea"/>
              <a:sym typeface="+mn-lt"/>
            </a:endParaRPr>
          </a:p>
        </p:txBody>
      </p:sp>
      <p:sp>
        <p:nvSpPr>
          <p:cNvPr id="1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526DB58-D964-4146-9E41-E6C26A2042DF}"/>
              </a:ext>
            </a:extLst>
          </p:cNvPr>
          <p:cNvSpPr txBox="1"/>
          <p:nvPr/>
        </p:nvSpPr>
        <p:spPr>
          <a:xfrm>
            <a:off x="7633462" y="1474111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0EFBD19-4C1C-4402-AC27-8A262A6AD1B1}"/>
              </a:ext>
            </a:extLst>
          </p:cNvPr>
          <p:cNvSpPr txBox="1"/>
          <p:nvPr/>
        </p:nvSpPr>
        <p:spPr>
          <a:xfrm>
            <a:off x="7633462" y="2693184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1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C75BB7C-32A8-42AA-87D0-3A32D4BE402B}"/>
              </a:ext>
            </a:extLst>
          </p:cNvPr>
          <p:cNvSpPr txBox="1"/>
          <p:nvPr/>
        </p:nvSpPr>
        <p:spPr>
          <a:xfrm>
            <a:off x="7637265" y="3968642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2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9DF3DF1-8DB4-45BE-BA9B-68B4C77D29A9}"/>
              </a:ext>
            </a:extLst>
          </p:cNvPr>
          <p:cNvSpPr txBox="1"/>
          <p:nvPr/>
        </p:nvSpPr>
        <p:spPr>
          <a:xfrm>
            <a:off x="7633462" y="5232002"/>
            <a:ext cx="2625831" cy="1154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a16="http://schemas.microsoft.com/office/drawing/2014/main" xmlns:mc="http://schemas.openxmlformats.org/markup-compatibility/2006" xmlns:p14="http://schemas.microsoft.com/office/powerpoint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412750" hangingPunct="0">
              <a:lnSpc>
                <a:spcPct val="150000"/>
              </a:lnSpc>
              <a:defRPr sz="1000" b="0" kern="0">
                <a:solidFill>
                  <a:srgbClr val="A43975"/>
                </a:solidFill>
                <a:latin typeface="+mj-ea"/>
                <a:ea typeface="+mj-ea"/>
                <a:cs typeface="+mn-ea"/>
              </a:defRPr>
            </a:lvl1pPr>
          </a:lstStyle>
          <a:p>
            <a:r>
              <a:rPr dirty="0">
                <a:sym typeface="+mn-lt"/>
              </a:rPr>
              <a:t>Synergistically utilize technically sound portals with</a:t>
            </a:r>
            <a:r>
              <a:rPr lang="en-US" dirty="0">
                <a:sym typeface="+mn-lt"/>
              </a:rPr>
              <a:t>,</a:t>
            </a:r>
            <a:r>
              <a:rPr lang="en-US" altLang="zh-CN" dirty="0">
                <a:sym typeface="+mn-lt"/>
              </a:rPr>
              <a:t> Synergistically utilize technically sound,  Synergistically</a:t>
            </a:r>
            <a:r>
              <a:rPr lang="zh-CN" altLang="en-US" dirty="0">
                <a:sym typeface="+mn-lt"/>
              </a:rPr>
              <a:t>。</a:t>
            </a:r>
            <a:r>
              <a:rPr lang="en-US" altLang="zh-CN" dirty="0">
                <a:sym typeface="+mn-lt"/>
              </a:rPr>
              <a:t>Synergistically utilize technically sound portals with</a:t>
            </a:r>
          </a:p>
        </p:txBody>
      </p:sp>
      <p:sp>
        <p:nvSpPr>
          <p:cNvPr id="21" name="Google Shape;1496;p40">
            <a:extLst>
              <a:ext uri="{FF2B5EF4-FFF2-40B4-BE49-F238E27FC236}">
                <a16:creationId xmlns:a16="http://schemas.microsoft.com/office/drawing/2014/main" id="{46540EB3-A4FD-4EA8-BB24-108482A3FF7D}"/>
              </a:ext>
            </a:extLst>
          </p:cNvPr>
          <p:cNvSpPr txBox="1"/>
          <p:nvPr/>
        </p:nvSpPr>
        <p:spPr>
          <a:xfrm>
            <a:off x="484939" y="402183"/>
            <a:ext cx="2857200" cy="496400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" dirty="0">
                <a:latin typeface="+mn-lt"/>
                <a:cs typeface="+mn-ea"/>
                <a:sym typeface="+mn-lt"/>
              </a:rPr>
              <a:t> </a:t>
            </a:r>
            <a:endParaRPr dirty="0">
              <a:latin typeface="+mn-lt"/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CB1F3FF-0FA6-4DB4-8CDC-5B88930334B2}"/>
              </a:ext>
            </a:extLst>
          </p:cNvPr>
          <p:cNvSpPr txBox="1"/>
          <p:nvPr/>
        </p:nvSpPr>
        <p:spPr>
          <a:xfrm>
            <a:off x="740696" y="503864"/>
            <a:ext cx="22264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1400" dirty="0">
                <a:solidFill>
                  <a:schemeClr val="bg1"/>
                </a:solidFill>
                <a:cs typeface="+mn-ea"/>
                <a:sym typeface="+mn-lt"/>
              </a:rPr>
              <a:t>JPPPT.COM</a:t>
            </a:r>
            <a:endParaRPr lang="zh-CN" altLang="en-US" sz="14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 xmlns:a16="http://schemas.microsoft.com/office/drawing/2014/main" xmlns:ma14="http://schemas.microsoft.com/office/mac/drawingml/2011/main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PowerPoint 演示文稿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ww.jpppt.com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vbid4ljk">
      <a:majorFont>
        <a:latin typeface="微软雅黑" panose="020F0502020204030204"/>
        <a:ea typeface="微软雅黑"/>
        <a:cs typeface=""/>
      </a:majorFont>
      <a:minorFont>
        <a:latin typeface="微软雅黑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-www.jp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9</TotalTime>
  <Words>1701</Words>
  <Application>Microsoft Office PowerPoint</Application>
  <PresentationFormat>宽屏</PresentationFormat>
  <Paragraphs>242</Paragraphs>
  <Slides>25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4" baseType="lpstr">
      <vt:lpstr>Roboto Bold</vt:lpstr>
      <vt:lpstr>等线</vt:lpstr>
      <vt:lpstr>方正正黑简体</vt:lpstr>
      <vt:lpstr>微软雅黑</vt:lpstr>
      <vt:lpstr>Arial</vt:lpstr>
      <vt:lpstr>Calibri</vt:lpstr>
      <vt:lpstr>www.jpppt.com</vt:lpstr>
      <vt:lpstr>1-www.jpppt.com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jpppt.com</Manager>
  <Company>www.jp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s</dc:title>
  <dc:creator>www.jpppt.com</dc:creator>
  <cp:keywords>www.jpppt.com</cp:keywords>
  <dc:description>www.jpppt.com</dc:description>
  <cp:lastModifiedBy>宇 之灵</cp:lastModifiedBy>
  <cp:revision>268</cp:revision>
  <dcterms:created xsi:type="dcterms:W3CDTF">2019-03-29T12:25:33Z</dcterms:created>
  <dcterms:modified xsi:type="dcterms:W3CDTF">2021-02-25T02:22:36Z</dcterms:modified>
</cp:coreProperties>
</file>